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2" r:id="rId4"/>
  </p:sldMasterIdLst>
  <p:notesMasterIdLst>
    <p:notesMasterId r:id="rId52"/>
  </p:notesMasterIdLst>
  <p:sldIdLst>
    <p:sldId id="260" r:id="rId5"/>
    <p:sldId id="258" r:id="rId6"/>
    <p:sldId id="263" r:id="rId7"/>
    <p:sldId id="262" r:id="rId8"/>
    <p:sldId id="292" r:id="rId9"/>
    <p:sldId id="293" r:id="rId10"/>
    <p:sldId id="2147479466" r:id="rId11"/>
    <p:sldId id="2145707173" r:id="rId12"/>
    <p:sldId id="2147479542" r:id="rId13"/>
    <p:sldId id="2145707278" r:id="rId14"/>
    <p:sldId id="2147479314" r:id="rId15"/>
    <p:sldId id="308" r:id="rId16"/>
    <p:sldId id="264" r:id="rId17"/>
    <p:sldId id="265" r:id="rId18"/>
    <p:sldId id="266" r:id="rId19"/>
    <p:sldId id="267" r:id="rId20"/>
    <p:sldId id="2147479543" r:id="rId21"/>
    <p:sldId id="268" r:id="rId22"/>
    <p:sldId id="269" r:id="rId23"/>
    <p:sldId id="270" r:id="rId24"/>
    <p:sldId id="271" r:id="rId25"/>
    <p:sldId id="274" r:id="rId26"/>
    <p:sldId id="272" r:id="rId27"/>
    <p:sldId id="275" r:id="rId28"/>
    <p:sldId id="291" r:id="rId29"/>
    <p:sldId id="304" r:id="rId30"/>
    <p:sldId id="280" r:id="rId31"/>
    <p:sldId id="276" r:id="rId32"/>
    <p:sldId id="281" r:id="rId33"/>
    <p:sldId id="282" r:id="rId34"/>
    <p:sldId id="305" r:id="rId35"/>
    <p:sldId id="300" r:id="rId36"/>
    <p:sldId id="283" r:id="rId37"/>
    <p:sldId id="287" r:id="rId38"/>
    <p:sldId id="285" r:id="rId39"/>
    <p:sldId id="288" r:id="rId40"/>
    <p:sldId id="290" r:id="rId41"/>
    <p:sldId id="278" r:id="rId42"/>
    <p:sldId id="301" r:id="rId43"/>
    <p:sldId id="302" r:id="rId44"/>
    <p:sldId id="294" r:id="rId45"/>
    <p:sldId id="296" r:id="rId46"/>
    <p:sldId id="303" r:id="rId47"/>
    <p:sldId id="297" r:id="rId48"/>
    <p:sldId id="2147479544" r:id="rId49"/>
    <p:sldId id="295" r:id="rId50"/>
    <p:sldId id="299" r:id="rId51"/>
  </p:sldIdLst>
  <p:sldSz cx="12192000" cy="8618538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14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A7CA5"/>
    <a:srgbClr val="3A7C41"/>
    <a:srgbClr val="D20000"/>
    <a:srgbClr val="C00000"/>
    <a:srgbClr val="E20000"/>
    <a:srgbClr val="EA0000"/>
    <a:srgbClr val="FA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1" autoAdjust="0"/>
    <p:restoredTop sz="94556" autoAdjust="0"/>
  </p:normalViewPr>
  <p:slideViewPr>
    <p:cSldViewPr snapToGrid="0" snapToObjects="1">
      <p:cViewPr varScale="1">
        <p:scale>
          <a:sx n="86" d="100"/>
          <a:sy n="86" d="100"/>
        </p:scale>
        <p:origin x="1518" y="108"/>
      </p:cViewPr>
      <p:guideLst>
        <p:guide orient="horz" pos="2714"/>
        <p:guide pos="3840"/>
      </p:guideLst>
    </p:cSldViewPr>
  </p:slideViewPr>
  <p:outlineViewPr>
    <p:cViewPr>
      <p:scale>
        <a:sx n="33" d="100"/>
        <a:sy n="33" d="100"/>
      </p:scale>
      <p:origin x="18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400" b="1">
                <a:solidFill>
                  <a:schemeClr val="tx1"/>
                </a:solidFill>
              </a:defRPr>
            </a:pPr>
            <a:r>
              <a:rPr lang="cs-CZ" sz="1400" b="1" i="0" u="none" strike="noStrike" kern="1200" spc="0" baseline="0" dirty="0">
                <a:solidFill>
                  <a:schemeClr val="tx1"/>
                </a:solidFill>
              </a:rPr>
              <a:t>Projekce vývoje počtu seniorů - </a:t>
            </a:r>
            <a:r>
              <a:rPr lang="cs-CZ" sz="1400" b="1" i="0" u="none" strike="noStrike" kern="1200" spc="0" baseline="0" dirty="0">
                <a:solidFill>
                  <a:srgbClr val="C00000"/>
                </a:solidFill>
              </a:rPr>
              <a:t>ženy</a:t>
            </a:r>
            <a:endParaRPr lang="en-GB" sz="1400" b="1" i="0" u="none" strike="noStrike" kern="1200" spc="0" baseline="0" dirty="0">
              <a:solidFill>
                <a:srgbClr val="C00000"/>
              </a:solidFill>
            </a:endParaRPr>
          </a:p>
        </c:rich>
      </c:tx>
      <c:layout>
        <c:manualLayout>
          <c:xMode val="edge"/>
          <c:yMode val="edge"/>
          <c:x val="0.26684258748326201"/>
          <c:y val="3.2209906217756948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1891415407035653"/>
          <c:y val="8.2088917325217448E-2"/>
          <c:w val="0.78947165183254187"/>
          <c:h val="0.80523312985987427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65-69 let</c:v>
                </c:pt>
              </c:strCache>
            </c:strRef>
          </c:tx>
          <c:spPr>
            <a:ln w="28575" cap="rnd">
              <a:solidFill>
                <a:srgbClr val="084263"/>
              </a:solidFill>
              <a:round/>
            </a:ln>
            <a:effectLst/>
          </c:spPr>
          <c:marker>
            <c:symbol val="none"/>
          </c:marker>
          <c:cat>
            <c:numRef>
              <c:f>List1!$A$2:$A$27</c:f>
              <c:numCache>
                <c:formatCode>General</c:formatCode>
                <c:ptCount val="26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  <c:pt idx="3">
                  <c:v>2028</c:v>
                </c:pt>
                <c:pt idx="4">
                  <c:v>2029</c:v>
                </c:pt>
                <c:pt idx="5">
                  <c:v>2030</c:v>
                </c:pt>
                <c:pt idx="6">
                  <c:v>2031</c:v>
                </c:pt>
                <c:pt idx="7">
                  <c:v>2032</c:v>
                </c:pt>
                <c:pt idx="8">
                  <c:v>2033</c:v>
                </c:pt>
                <c:pt idx="9">
                  <c:v>2034</c:v>
                </c:pt>
                <c:pt idx="10">
                  <c:v>2035</c:v>
                </c:pt>
                <c:pt idx="11">
                  <c:v>2036</c:v>
                </c:pt>
                <c:pt idx="12">
                  <c:v>2037</c:v>
                </c:pt>
                <c:pt idx="13">
                  <c:v>2038</c:v>
                </c:pt>
                <c:pt idx="14">
                  <c:v>2039</c:v>
                </c:pt>
                <c:pt idx="15">
                  <c:v>2040</c:v>
                </c:pt>
                <c:pt idx="16">
                  <c:v>2041</c:v>
                </c:pt>
                <c:pt idx="17">
                  <c:v>2042</c:v>
                </c:pt>
                <c:pt idx="18">
                  <c:v>2043</c:v>
                </c:pt>
                <c:pt idx="19">
                  <c:v>2044</c:v>
                </c:pt>
                <c:pt idx="20">
                  <c:v>2045</c:v>
                </c:pt>
                <c:pt idx="21">
                  <c:v>2046</c:v>
                </c:pt>
                <c:pt idx="22">
                  <c:v>2047</c:v>
                </c:pt>
                <c:pt idx="23">
                  <c:v>2048</c:v>
                </c:pt>
                <c:pt idx="24">
                  <c:v>2049</c:v>
                </c:pt>
                <c:pt idx="25">
                  <c:v>2050</c:v>
                </c:pt>
              </c:numCache>
            </c:numRef>
          </c:cat>
          <c:val>
            <c:numRef>
              <c:f>List1!$B$2:$B$27</c:f>
              <c:numCache>
                <c:formatCode>#,##0</c:formatCode>
                <c:ptCount val="26"/>
                <c:pt idx="0">
                  <c:v>323896</c:v>
                </c:pt>
                <c:pt idx="1">
                  <c:v>309889</c:v>
                </c:pt>
                <c:pt idx="2">
                  <c:v>298212</c:v>
                </c:pt>
                <c:pt idx="3">
                  <c:v>290487</c:v>
                </c:pt>
                <c:pt idx="4">
                  <c:v>294929</c:v>
                </c:pt>
                <c:pt idx="5">
                  <c:v>306222</c:v>
                </c:pt>
                <c:pt idx="6">
                  <c:v>314515</c:v>
                </c:pt>
                <c:pt idx="7">
                  <c:v>319058</c:v>
                </c:pt>
                <c:pt idx="8">
                  <c:v>321577</c:v>
                </c:pt>
                <c:pt idx="9">
                  <c:v>317711</c:v>
                </c:pt>
                <c:pt idx="10">
                  <c:v>315181</c:v>
                </c:pt>
                <c:pt idx="11">
                  <c:v>318206</c:v>
                </c:pt>
                <c:pt idx="12">
                  <c:v>326215</c:v>
                </c:pt>
                <c:pt idx="13">
                  <c:v>339237</c:v>
                </c:pt>
                <c:pt idx="14">
                  <c:v>359578</c:v>
                </c:pt>
                <c:pt idx="15">
                  <c:v>382964</c:v>
                </c:pt>
                <c:pt idx="16">
                  <c:v>402946</c:v>
                </c:pt>
                <c:pt idx="17">
                  <c:v>418516</c:v>
                </c:pt>
                <c:pt idx="18">
                  <c:v>427982</c:v>
                </c:pt>
                <c:pt idx="19">
                  <c:v>428969</c:v>
                </c:pt>
                <c:pt idx="20">
                  <c:v>421436</c:v>
                </c:pt>
                <c:pt idx="21">
                  <c:v>407266</c:v>
                </c:pt>
                <c:pt idx="22">
                  <c:v>391355</c:v>
                </c:pt>
                <c:pt idx="23">
                  <c:v>377527</c:v>
                </c:pt>
                <c:pt idx="24">
                  <c:v>364035</c:v>
                </c:pt>
                <c:pt idx="25">
                  <c:v>3530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5C8-4A81-A2BA-DEC0117BF20D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70-74 let</c:v>
                </c:pt>
              </c:strCache>
            </c:strRef>
          </c:tx>
          <c:spPr>
            <a:ln w="28575" cap="rnd">
              <a:solidFill>
                <a:schemeClr val="accent6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List1!$A$2:$A$27</c:f>
              <c:numCache>
                <c:formatCode>General</c:formatCode>
                <c:ptCount val="26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  <c:pt idx="3">
                  <c:v>2028</c:v>
                </c:pt>
                <c:pt idx="4">
                  <c:v>2029</c:v>
                </c:pt>
                <c:pt idx="5">
                  <c:v>2030</c:v>
                </c:pt>
                <c:pt idx="6">
                  <c:v>2031</c:v>
                </c:pt>
                <c:pt idx="7">
                  <c:v>2032</c:v>
                </c:pt>
                <c:pt idx="8">
                  <c:v>2033</c:v>
                </c:pt>
                <c:pt idx="9">
                  <c:v>2034</c:v>
                </c:pt>
                <c:pt idx="10">
                  <c:v>2035</c:v>
                </c:pt>
                <c:pt idx="11">
                  <c:v>2036</c:v>
                </c:pt>
                <c:pt idx="12">
                  <c:v>2037</c:v>
                </c:pt>
                <c:pt idx="13">
                  <c:v>2038</c:v>
                </c:pt>
                <c:pt idx="14">
                  <c:v>2039</c:v>
                </c:pt>
                <c:pt idx="15">
                  <c:v>2040</c:v>
                </c:pt>
                <c:pt idx="16">
                  <c:v>2041</c:v>
                </c:pt>
                <c:pt idx="17">
                  <c:v>2042</c:v>
                </c:pt>
                <c:pt idx="18">
                  <c:v>2043</c:v>
                </c:pt>
                <c:pt idx="19">
                  <c:v>2044</c:v>
                </c:pt>
                <c:pt idx="20">
                  <c:v>2045</c:v>
                </c:pt>
                <c:pt idx="21">
                  <c:v>2046</c:v>
                </c:pt>
                <c:pt idx="22">
                  <c:v>2047</c:v>
                </c:pt>
                <c:pt idx="23">
                  <c:v>2048</c:v>
                </c:pt>
                <c:pt idx="24">
                  <c:v>2049</c:v>
                </c:pt>
                <c:pt idx="25">
                  <c:v>2050</c:v>
                </c:pt>
              </c:numCache>
            </c:numRef>
          </c:cat>
          <c:val>
            <c:numRef>
              <c:f>List1!$C$2:$C$27</c:f>
              <c:numCache>
                <c:formatCode>#,##0</c:formatCode>
                <c:ptCount val="26"/>
                <c:pt idx="0">
                  <c:v>340832</c:v>
                </c:pt>
                <c:pt idx="1">
                  <c:v>337667</c:v>
                </c:pt>
                <c:pt idx="2">
                  <c:v>332474</c:v>
                </c:pt>
                <c:pt idx="3">
                  <c:v>325403</c:v>
                </c:pt>
                <c:pt idx="4">
                  <c:v>316286</c:v>
                </c:pt>
                <c:pt idx="5">
                  <c:v>302878</c:v>
                </c:pt>
                <c:pt idx="6">
                  <c:v>290721</c:v>
                </c:pt>
                <c:pt idx="7">
                  <c:v>280933</c:v>
                </c:pt>
                <c:pt idx="8">
                  <c:v>275003</c:v>
                </c:pt>
                <c:pt idx="9">
                  <c:v>279645</c:v>
                </c:pt>
                <c:pt idx="10">
                  <c:v>290707</c:v>
                </c:pt>
                <c:pt idx="11">
                  <c:v>298864</c:v>
                </c:pt>
                <c:pt idx="12">
                  <c:v>303429</c:v>
                </c:pt>
                <c:pt idx="13">
                  <c:v>306055</c:v>
                </c:pt>
                <c:pt idx="14">
                  <c:v>302679</c:v>
                </c:pt>
                <c:pt idx="15">
                  <c:v>300632</c:v>
                </c:pt>
                <c:pt idx="16">
                  <c:v>303874</c:v>
                </c:pt>
                <c:pt idx="17">
                  <c:v>311857</c:v>
                </c:pt>
                <c:pt idx="18">
                  <c:v>324634</c:v>
                </c:pt>
                <c:pt idx="19">
                  <c:v>344433</c:v>
                </c:pt>
                <c:pt idx="20">
                  <c:v>367187</c:v>
                </c:pt>
                <c:pt idx="21">
                  <c:v>386653</c:v>
                </c:pt>
                <c:pt idx="22">
                  <c:v>401860</c:v>
                </c:pt>
                <c:pt idx="23">
                  <c:v>411197</c:v>
                </c:pt>
                <c:pt idx="24">
                  <c:v>412431</c:v>
                </c:pt>
                <c:pt idx="25">
                  <c:v>4055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5C8-4A81-A2BA-DEC0117BF20D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75-79 let</c:v>
                </c:pt>
              </c:strCache>
            </c:strRef>
          </c:tx>
          <c:spPr>
            <a:ln w="28575">
              <a:solidFill>
                <a:schemeClr val="accent2"/>
              </a:solidFill>
            </a:ln>
          </c:spPr>
          <c:marker>
            <c:symbol val="none"/>
          </c:marker>
          <c:cat>
            <c:numRef>
              <c:f>List1!$A$2:$A$27</c:f>
              <c:numCache>
                <c:formatCode>General</c:formatCode>
                <c:ptCount val="26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  <c:pt idx="3">
                  <c:v>2028</c:v>
                </c:pt>
                <c:pt idx="4">
                  <c:v>2029</c:v>
                </c:pt>
                <c:pt idx="5">
                  <c:v>2030</c:v>
                </c:pt>
                <c:pt idx="6">
                  <c:v>2031</c:v>
                </c:pt>
                <c:pt idx="7">
                  <c:v>2032</c:v>
                </c:pt>
                <c:pt idx="8">
                  <c:v>2033</c:v>
                </c:pt>
                <c:pt idx="9">
                  <c:v>2034</c:v>
                </c:pt>
                <c:pt idx="10">
                  <c:v>2035</c:v>
                </c:pt>
                <c:pt idx="11">
                  <c:v>2036</c:v>
                </c:pt>
                <c:pt idx="12">
                  <c:v>2037</c:v>
                </c:pt>
                <c:pt idx="13">
                  <c:v>2038</c:v>
                </c:pt>
                <c:pt idx="14">
                  <c:v>2039</c:v>
                </c:pt>
                <c:pt idx="15">
                  <c:v>2040</c:v>
                </c:pt>
                <c:pt idx="16">
                  <c:v>2041</c:v>
                </c:pt>
                <c:pt idx="17">
                  <c:v>2042</c:v>
                </c:pt>
                <c:pt idx="18">
                  <c:v>2043</c:v>
                </c:pt>
                <c:pt idx="19">
                  <c:v>2044</c:v>
                </c:pt>
                <c:pt idx="20">
                  <c:v>2045</c:v>
                </c:pt>
                <c:pt idx="21">
                  <c:v>2046</c:v>
                </c:pt>
                <c:pt idx="22">
                  <c:v>2047</c:v>
                </c:pt>
                <c:pt idx="23">
                  <c:v>2048</c:v>
                </c:pt>
                <c:pt idx="24">
                  <c:v>2049</c:v>
                </c:pt>
                <c:pt idx="25">
                  <c:v>2050</c:v>
                </c:pt>
              </c:numCache>
            </c:numRef>
          </c:cat>
          <c:val>
            <c:numRef>
              <c:f>List1!$D$2:$D$27</c:f>
              <c:numCache>
                <c:formatCode>#,##0</c:formatCode>
                <c:ptCount val="26"/>
                <c:pt idx="0">
                  <c:v>299362</c:v>
                </c:pt>
                <c:pt idx="1">
                  <c:v>309481</c:v>
                </c:pt>
                <c:pt idx="2">
                  <c:v>309995</c:v>
                </c:pt>
                <c:pt idx="3">
                  <c:v>307613</c:v>
                </c:pt>
                <c:pt idx="4">
                  <c:v>306826</c:v>
                </c:pt>
                <c:pt idx="5">
                  <c:v>307041</c:v>
                </c:pt>
                <c:pt idx="6">
                  <c:v>305214</c:v>
                </c:pt>
                <c:pt idx="7">
                  <c:v>301651</c:v>
                </c:pt>
                <c:pt idx="8">
                  <c:v>296415</c:v>
                </c:pt>
                <c:pt idx="9">
                  <c:v>288604</c:v>
                </c:pt>
                <c:pt idx="10">
                  <c:v>276805</c:v>
                </c:pt>
                <c:pt idx="11">
                  <c:v>266194</c:v>
                </c:pt>
                <c:pt idx="12">
                  <c:v>257821</c:v>
                </c:pt>
                <c:pt idx="13">
                  <c:v>252998</c:v>
                </c:pt>
                <c:pt idx="14">
                  <c:v>257934</c:v>
                </c:pt>
                <c:pt idx="15">
                  <c:v>268668</c:v>
                </c:pt>
                <c:pt idx="16">
                  <c:v>276615</c:v>
                </c:pt>
                <c:pt idx="17">
                  <c:v>281185</c:v>
                </c:pt>
                <c:pt idx="18">
                  <c:v>283927</c:v>
                </c:pt>
                <c:pt idx="19">
                  <c:v>281230</c:v>
                </c:pt>
                <c:pt idx="20">
                  <c:v>279871</c:v>
                </c:pt>
                <c:pt idx="21">
                  <c:v>283428</c:v>
                </c:pt>
                <c:pt idx="22">
                  <c:v>291382</c:v>
                </c:pt>
                <c:pt idx="23">
                  <c:v>303810</c:v>
                </c:pt>
                <c:pt idx="24">
                  <c:v>322846</c:v>
                </c:pt>
                <c:pt idx="25">
                  <c:v>3447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5C8-4A81-A2BA-DEC0117BF20D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80+ let</c:v>
                </c:pt>
              </c:strCache>
            </c:strRef>
          </c:tx>
          <c:spPr>
            <a:ln w="28575">
              <a:solidFill>
                <a:srgbClr val="C00000"/>
              </a:solidFill>
            </a:ln>
          </c:spPr>
          <c:marker>
            <c:symbol val="none"/>
          </c:marker>
          <c:cat>
            <c:numRef>
              <c:f>List1!$A$2:$A$27</c:f>
              <c:numCache>
                <c:formatCode>General</c:formatCode>
                <c:ptCount val="26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  <c:pt idx="3">
                  <c:v>2028</c:v>
                </c:pt>
                <c:pt idx="4">
                  <c:v>2029</c:v>
                </c:pt>
                <c:pt idx="5">
                  <c:v>2030</c:v>
                </c:pt>
                <c:pt idx="6">
                  <c:v>2031</c:v>
                </c:pt>
                <c:pt idx="7">
                  <c:v>2032</c:v>
                </c:pt>
                <c:pt idx="8">
                  <c:v>2033</c:v>
                </c:pt>
                <c:pt idx="9">
                  <c:v>2034</c:v>
                </c:pt>
                <c:pt idx="10">
                  <c:v>2035</c:v>
                </c:pt>
                <c:pt idx="11">
                  <c:v>2036</c:v>
                </c:pt>
                <c:pt idx="12">
                  <c:v>2037</c:v>
                </c:pt>
                <c:pt idx="13">
                  <c:v>2038</c:v>
                </c:pt>
                <c:pt idx="14">
                  <c:v>2039</c:v>
                </c:pt>
                <c:pt idx="15">
                  <c:v>2040</c:v>
                </c:pt>
                <c:pt idx="16">
                  <c:v>2041</c:v>
                </c:pt>
                <c:pt idx="17">
                  <c:v>2042</c:v>
                </c:pt>
                <c:pt idx="18">
                  <c:v>2043</c:v>
                </c:pt>
                <c:pt idx="19">
                  <c:v>2044</c:v>
                </c:pt>
                <c:pt idx="20">
                  <c:v>2045</c:v>
                </c:pt>
                <c:pt idx="21">
                  <c:v>2046</c:v>
                </c:pt>
                <c:pt idx="22">
                  <c:v>2047</c:v>
                </c:pt>
                <c:pt idx="23">
                  <c:v>2048</c:v>
                </c:pt>
                <c:pt idx="24">
                  <c:v>2049</c:v>
                </c:pt>
                <c:pt idx="25">
                  <c:v>2050</c:v>
                </c:pt>
              </c:numCache>
            </c:numRef>
          </c:cat>
          <c:val>
            <c:numRef>
              <c:f>List1!$E$2:$E$27</c:f>
              <c:numCache>
                <c:formatCode>#,##0</c:formatCode>
                <c:ptCount val="26"/>
                <c:pt idx="0">
                  <c:v>342159</c:v>
                </c:pt>
                <c:pt idx="1">
                  <c:v>356560</c:v>
                </c:pt>
                <c:pt idx="2">
                  <c:v>380466</c:v>
                </c:pt>
                <c:pt idx="3">
                  <c:v>405019</c:v>
                </c:pt>
                <c:pt idx="4">
                  <c:v>425949</c:v>
                </c:pt>
                <c:pt idx="5">
                  <c:v>444253</c:v>
                </c:pt>
                <c:pt idx="6">
                  <c:v>462582</c:v>
                </c:pt>
                <c:pt idx="7">
                  <c:v>480822</c:v>
                </c:pt>
                <c:pt idx="8">
                  <c:v>497107</c:v>
                </c:pt>
                <c:pt idx="9">
                  <c:v>510924</c:v>
                </c:pt>
                <c:pt idx="10">
                  <c:v>523268</c:v>
                </c:pt>
                <c:pt idx="11">
                  <c:v>533843</c:v>
                </c:pt>
                <c:pt idx="12">
                  <c:v>542884</c:v>
                </c:pt>
                <c:pt idx="13">
                  <c:v>548851</c:v>
                </c:pt>
                <c:pt idx="14">
                  <c:v>550573</c:v>
                </c:pt>
                <c:pt idx="15">
                  <c:v>547757</c:v>
                </c:pt>
                <c:pt idx="16">
                  <c:v>544857</c:v>
                </c:pt>
                <c:pt idx="17">
                  <c:v>543089</c:v>
                </c:pt>
                <c:pt idx="18">
                  <c:v>542283</c:v>
                </c:pt>
                <c:pt idx="19">
                  <c:v>546988</c:v>
                </c:pt>
                <c:pt idx="20">
                  <c:v>553345</c:v>
                </c:pt>
                <c:pt idx="21">
                  <c:v>557589</c:v>
                </c:pt>
                <c:pt idx="22">
                  <c:v>560252</c:v>
                </c:pt>
                <c:pt idx="23">
                  <c:v>562532</c:v>
                </c:pt>
                <c:pt idx="24">
                  <c:v>565216</c:v>
                </c:pt>
                <c:pt idx="25">
                  <c:v>5708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5C8-4A81-A2BA-DEC0117BF2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14755840"/>
        <c:axId val="414762112"/>
      </c:lineChart>
      <c:catAx>
        <c:axId val="414755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/>
          <a:lstStyle/>
          <a:p>
            <a:pPr>
              <a:defRPr sz="1200"/>
            </a:pPr>
            <a:endParaRPr lang="cs-CZ"/>
          </a:p>
        </c:txPr>
        <c:crossAx val="414762112"/>
        <c:crosses val="autoZero"/>
        <c:auto val="1"/>
        <c:lblAlgn val="ctr"/>
        <c:lblOffset val="100"/>
        <c:tickLblSkip val="1"/>
        <c:noMultiLvlLbl val="0"/>
      </c:catAx>
      <c:valAx>
        <c:axId val="414762112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1200"/>
                </a:pPr>
                <a:r>
                  <a:rPr lang="cs-CZ" sz="1200" dirty="0"/>
                  <a:t>Vývoj</a:t>
                </a:r>
                <a:r>
                  <a:rPr lang="cs-CZ" sz="1200" baseline="0" dirty="0"/>
                  <a:t> počtu obyvatel ve věku 65+ v tisících</a:t>
                </a:r>
                <a:endParaRPr lang="cs-CZ" sz="1200" dirty="0"/>
              </a:p>
            </c:rich>
          </c:tx>
          <c:layout>
            <c:manualLayout>
              <c:xMode val="edge"/>
              <c:yMode val="edge"/>
              <c:x val="8.2422320613416769E-3"/>
              <c:y val="0.1503326474029754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_ ;[Red]\-#,##0\ 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414755840"/>
        <c:crosses val="autoZero"/>
        <c:crossBetween val="between"/>
        <c:dispUnits>
          <c:builtInUnit val="thousands"/>
        </c:dispUnits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514743130351063"/>
          <c:y val="0.77031547032342473"/>
          <c:w val="0.72854873925487951"/>
          <c:h val="5.6501063480260759E-2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 sz="1100" b="1"/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400" b="1">
                <a:solidFill>
                  <a:schemeClr val="tx1"/>
                </a:solidFill>
              </a:defRPr>
            </a:pPr>
            <a:r>
              <a:rPr lang="cs-CZ" sz="1400" b="1" i="0" u="none" strike="noStrike" kern="1200" spc="0" baseline="0" dirty="0">
                <a:solidFill>
                  <a:schemeClr val="tx1"/>
                </a:solidFill>
              </a:rPr>
              <a:t>Projekce vývoje počtu seniorů - </a:t>
            </a:r>
            <a:r>
              <a:rPr lang="cs-CZ" sz="1400" b="1" i="0" u="none" strike="noStrike" kern="1200" spc="0" baseline="0" dirty="0">
                <a:solidFill>
                  <a:schemeClr val="tx2"/>
                </a:solidFill>
              </a:rPr>
              <a:t>muži</a:t>
            </a:r>
            <a:r>
              <a:rPr lang="cs-CZ" sz="1400" b="1" i="0" u="none" strike="noStrike" kern="1200" spc="0" baseline="0" dirty="0">
                <a:solidFill>
                  <a:schemeClr val="tx1"/>
                </a:solidFill>
              </a:rPr>
              <a:t> </a:t>
            </a:r>
            <a:endParaRPr lang="en-GB" sz="1400" b="1" i="0" u="none" strike="noStrike" kern="1200" spc="0" baseline="0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24005533328390152"/>
          <c:y val="3.2209906217756948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1891415407035653"/>
          <c:y val="8.2088917325217448E-2"/>
          <c:w val="0.78947165183254187"/>
          <c:h val="0.80523312985987427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65-69 let</c:v>
                </c:pt>
              </c:strCache>
            </c:strRef>
          </c:tx>
          <c:spPr>
            <a:ln w="28575" cap="rnd">
              <a:solidFill>
                <a:srgbClr val="084263"/>
              </a:solidFill>
              <a:round/>
            </a:ln>
            <a:effectLst/>
          </c:spPr>
          <c:marker>
            <c:symbol val="none"/>
          </c:marker>
          <c:cat>
            <c:numRef>
              <c:f>List1!$A$2:$A$27</c:f>
              <c:numCache>
                <c:formatCode>General</c:formatCode>
                <c:ptCount val="26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  <c:pt idx="3">
                  <c:v>2028</c:v>
                </c:pt>
                <c:pt idx="4">
                  <c:v>2029</c:v>
                </c:pt>
                <c:pt idx="5">
                  <c:v>2030</c:v>
                </c:pt>
                <c:pt idx="6">
                  <c:v>2031</c:v>
                </c:pt>
                <c:pt idx="7">
                  <c:v>2032</c:v>
                </c:pt>
                <c:pt idx="8">
                  <c:v>2033</c:v>
                </c:pt>
                <c:pt idx="9">
                  <c:v>2034</c:v>
                </c:pt>
                <c:pt idx="10">
                  <c:v>2035</c:v>
                </c:pt>
                <c:pt idx="11">
                  <c:v>2036</c:v>
                </c:pt>
                <c:pt idx="12">
                  <c:v>2037</c:v>
                </c:pt>
                <c:pt idx="13">
                  <c:v>2038</c:v>
                </c:pt>
                <c:pt idx="14">
                  <c:v>2039</c:v>
                </c:pt>
                <c:pt idx="15">
                  <c:v>2040</c:v>
                </c:pt>
                <c:pt idx="16">
                  <c:v>2041</c:v>
                </c:pt>
                <c:pt idx="17">
                  <c:v>2042</c:v>
                </c:pt>
                <c:pt idx="18">
                  <c:v>2043</c:v>
                </c:pt>
                <c:pt idx="19">
                  <c:v>2044</c:v>
                </c:pt>
                <c:pt idx="20">
                  <c:v>2045</c:v>
                </c:pt>
                <c:pt idx="21">
                  <c:v>2046</c:v>
                </c:pt>
                <c:pt idx="22">
                  <c:v>2047</c:v>
                </c:pt>
                <c:pt idx="23">
                  <c:v>2048</c:v>
                </c:pt>
                <c:pt idx="24">
                  <c:v>2049</c:v>
                </c:pt>
                <c:pt idx="25">
                  <c:v>2050</c:v>
                </c:pt>
              </c:numCache>
            </c:numRef>
          </c:cat>
          <c:val>
            <c:numRef>
              <c:f>List1!$B$2:$B$27</c:f>
              <c:numCache>
                <c:formatCode>#,##0</c:formatCode>
                <c:ptCount val="26"/>
                <c:pt idx="0">
                  <c:v>289429</c:v>
                </c:pt>
                <c:pt idx="1">
                  <c:v>280133</c:v>
                </c:pt>
                <c:pt idx="2">
                  <c:v>272264</c:v>
                </c:pt>
                <c:pt idx="3">
                  <c:v>267691</c:v>
                </c:pt>
                <c:pt idx="4">
                  <c:v>274108</c:v>
                </c:pt>
                <c:pt idx="5">
                  <c:v>286148</c:v>
                </c:pt>
                <c:pt idx="6">
                  <c:v>294284</c:v>
                </c:pt>
                <c:pt idx="7">
                  <c:v>299263</c:v>
                </c:pt>
                <c:pt idx="8">
                  <c:v>302163</c:v>
                </c:pt>
                <c:pt idx="9">
                  <c:v>299072</c:v>
                </c:pt>
                <c:pt idx="10">
                  <c:v>297317</c:v>
                </c:pt>
                <c:pt idx="11">
                  <c:v>300851</c:v>
                </c:pt>
                <c:pt idx="12">
                  <c:v>309452</c:v>
                </c:pt>
                <c:pt idx="13">
                  <c:v>322537</c:v>
                </c:pt>
                <c:pt idx="14">
                  <c:v>343953</c:v>
                </c:pt>
                <c:pt idx="15">
                  <c:v>367114</c:v>
                </c:pt>
                <c:pt idx="16">
                  <c:v>386866</c:v>
                </c:pt>
                <c:pt idx="17">
                  <c:v>402501</c:v>
                </c:pt>
                <c:pt idx="18">
                  <c:v>412094</c:v>
                </c:pt>
                <c:pt idx="19">
                  <c:v>413232</c:v>
                </c:pt>
                <c:pt idx="20">
                  <c:v>407566</c:v>
                </c:pt>
                <c:pt idx="21">
                  <c:v>396194</c:v>
                </c:pt>
                <c:pt idx="22">
                  <c:v>382062</c:v>
                </c:pt>
                <c:pt idx="23">
                  <c:v>369774</c:v>
                </c:pt>
                <c:pt idx="24">
                  <c:v>357656</c:v>
                </c:pt>
                <c:pt idx="25">
                  <c:v>3478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5D7-4FE5-9C8B-2C2E964D1FD8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70-74 let</c:v>
                </c:pt>
              </c:strCache>
            </c:strRef>
          </c:tx>
          <c:spPr>
            <a:ln w="28575" cap="rnd">
              <a:solidFill>
                <a:schemeClr val="accent6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List1!$A$2:$A$27</c:f>
              <c:numCache>
                <c:formatCode>General</c:formatCode>
                <c:ptCount val="26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  <c:pt idx="3">
                  <c:v>2028</c:v>
                </c:pt>
                <c:pt idx="4">
                  <c:v>2029</c:v>
                </c:pt>
                <c:pt idx="5">
                  <c:v>2030</c:v>
                </c:pt>
                <c:pt idx="6">
                  <c:v>2031</c:v>
                </c:pt>
                <c:pt idx="7">
                  <c:v>2032</c:v>
                </c:pt>
                <c:pt idx="8">
                  <c:v>2033</c:v>
                </c:pt>
                <c:pt idx="9">
                  <c:v>2034</c:v>
                </c:pt>
                <c:pt idx="10">
                  <c:v>2035</c:v>
                </c:pt>
                <c:pt idx="11">
                  <c:v>2036</c:v>
                </c:pt>
                <c:pt idx="12">
                  <c:v>2037</c:v>
                </c:pt>
                <c:pt idx="13">
                  <c:v>2038</c:v>
                </c:pt>
                <c:pt idx="14">
                  <c:v>2039</c:v>
                </c:pt>
                <c:pt idx="15">
                  <c:v>2040</c:v>
                </c:pt>
                <c:pt idx="16">
                  <c:v>2041</c:v>
                </c:pt>
                <c:pt idx="17">
                  <c:v>2042</c:v>
                </c:pt>
                <c:pt idx="18">
                  <c:v>2043</c:v>
                </c:pt>
                <c:pt idx="19">
                  <c:v>2044</c:v>
                </c:pt>
                <c:pt idx="20">
                  <c:v>2045</c:v>
                </c:pt>
                <c:pt idx="21">
                  <c:v>2046</c:v>
                </c:pt>
                <c:pt idx="22">
                  <c:v>2047</c:v>
                </c:pt>
                <c:pt idx="23">
                  <c:v>2048</c:v>
                </c:pt>
                <c:pt idx="24">
                  <c:v>2049</c:v>
                </c:pt>
                <c:pt idx="25">
                  <c:v>2050</c:v>
                </c:pt>
              </c:numCache>
            </c:numRef>
          </c:cat>
          <c:val>
            <c:numRef>
              <c:f>List1!$C$2:$C$27</c:f>
              <c:numCache>
                <c:formatCode>#,##0</c:formatCode>
                <c:ptCount val="26"/>
                <c:pt idx="0">
                  <c:v>272852</c:v>
                </c:pt>
                <c:pt idx="1">
                  <c:v>272787</c:v>
                </c:pt>
                <c:pt idx="2">
                  <c:v>271543</c:v>
                </c:pt>
                <c:pt idx="3">
                  <c:v>268387</c:v>
                </c:pt>
                <c:pt idx="4">
                  <c:v>262562</c:v>
                </c:pt>
                <c:pt idx="5">
                  <c:v>254183</c:v>
                </c:pt>
                <c:pt idx="6">
                  <c:v>246937</c:v>
                </c:pt>
                <c:pt idx="7">
                  <c:v>241180</c:v>
                </c:pt>
                <c:pt idx="8">
                  <c:v>238595</c:v>
                </c:pt>
                <c:pt idx="9">
                  <c:v>245049</c:v>
                </c:pt>
                <c:pt idx="10">
                  <c:v>256455</c:v>
                </c:pt>
                <c:pt idx="11">
                  <c:v>264278</c:v>
                </c:pt>
                <c:pt idx="12">
                  <c:v>269216</c:v>
                </c:pt>
                <c:pt idx="13">
                  <c:v>272281</c:v>
                </c:pt>
                <c:pt idx="14">
                  <c:v>270051</c:v>
                </c:pt>
                <c:pt idx="15">
                  <c:v>269126</c:v>
                </c:pt>
                <c:pt idx="16">
                  <c:v>272967</c:v>
                </c:pt>
                <c:pt idx="17">
                  <c:v>281391</c:v>
                </c:pt>
                <c:pt idx="18">
                  <c:v>293906</c:v>
                </c:pt>
                <c:pt idx="19">
                  <c:v>314072</c:v>
                </c:pt>
                <c:pt idx="20">
                  <c:v>335889</c:v>
                </c:pt>
                <c:pt idx="21">
                  <c:v>354547</c:v>
                </c:pt>
                <c:pt idx="22">
                  <c:v>369409</c:v>
                </c:pt>
                <c:pt idx="23">
                  <c:v>378721</c:v>
                </c:pt>
                <c:pt idx="24">
                  <c:v>380349</c:v>
                </c:pt>
                <c:pt idx="25">
                  <c:v>3757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D7-4FE5-9C8B-2C2E964D1FD8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75-79 let</c:v>
                </c:pt>
              </c:strCache>
            </c:strRef>
          </c:tx>
          <c:spPr>
            <a:ln w="28575">
              <a:solidFill>
                <a:schemeClr val="accent2"/>
              </a:solidFill>
            </a:ln>
          </c:spPr>
          <c:marker>
            <c:symbol val="none"/>
          </c:marker>
          <c:cat>
            <c:numRef>
              <c:f>List1!$A$2:$A$27</c:f>
              <c:numCache>
                <c:formatCode>General</c:formatCode>
                <c:ptCount val="26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  <c:pt idx="3">
                  <c:v>2028</c:v>
                </c:pt>
                <c:pt idx="4">
                  <c:v>2029</c:v>
                </c:pt>
                <c:pt idx="5">
                  <c:v>2030</c:v>
                </c:pt>
                <c:pt idx="6">
                  <c:v>2031</c:v>
                </c:pt>
                <c:pt idx="7">
                  <c:v>2032</c:v>
                </c:pt>
                <c:pt idx="8">
                  <c:v>2033</c:v>
                </c:pt>
                <c:pt idx="9">
                  <c:v>2034</c:v>
                </c:pt>
                <c:pt idx="10">
                  <c:v>2035</c:v>
                </c:pt>
                <c:pt idx="11">
                  <c:v>2036</c:v>
                </c:pt>
                <c:pt idx="12">
                  <c:v>2037</c:v>
                </c:pt>
                <c:pt idx="13">
                  <c:v>2038</c:v>
                </c:pt>
                <c:pt idx="14">
                  <c:v>2039</c:v>
                </c:pt>
                <c:pt idx="15">
                  <c:v>2040</c:v>
                </c:pt>
                <c:pt idx="16">
                  <c:v>2041</c:v>
                </c:pt>
                <c:pt idx="17">
                  <c:v>2042</c:v>
                </c:pt>
                <c:pt idx="18">
                  <c:v>2043</c:v>
                </c:pt>
                <c:pt idx="19">
                  <c:v>2044</c:v>
                </c:pt>
                <c:pt idx="20">
                  <c:v>2045</c:v>
                </c:pt>
                <c:pt idx="21">
                  <c:v>2046</c:v>
                </c:pt>
                <c:pt idx="22">
                  <c:v>2047</c:v>
                </c:pt>
                <c:pt idx="23">
                  <c:v>2048</c:v>
                </c:pt>
                <c:pt idx="24">
                  <c:v>2049</c:v>
                </c:pt>
                <c:pt idx="25">
                  <c:v>2050</c:v>
                </c:pt>
              </c:numCache>
            </c:numRef>
          </c:cat>
          <c:val>
            <c:numRef>
              <c:f>List1!$D$2:$D$27</c:f>
              <c:numCache>
                <c:formatCode>#,##0</c:formatCode>
                <c:ptCount val="26"/>
                <c:pt idx="0">
                  <c:v>211189</c:v>
                </c:pt>
                <c:pt idx="1">
                  <c:v>220553</c:v>
                </c:pt>
                <c:pt idx="2">
                  <c:v>222498</c:v>
                </c:pt>
                <c:pt idx="3">
                  <c:v>222809</c:v>
                </c:pt>
                <c:pt idx="4">
                  <c:v>224009</c:v>
                </c:pt>
                <c:pt idx="5">
                  <c:v>226092</c:v>
                </c:pt>
                <c:pt idx="6">
                  <c:v>227030</c:v>
                </c:pt>
                <c:pt idx="7">
                  <c:v>227055</c:v>
                </c:pt>
                <c:pt idx="8">
                  <c:v>225534</c:v>
                </c:pt>
                <c:pt idx="9">
                  <c:v>221365</c:v>
                </c:pt>
                <c:pt idx="10">
                  <c:v>214966</c:v>
                </c:pt>
                <c:pt idx="11">
                  <c:v>209579</c:v>
                </c:pt>
                <c:pt idx="12">
                  <c:v>205510</c:v>
                </c:pt>
                <c:pt idx="13">
                  <c:v>204162</c:v>
                </c:pt>
                <c:pt idx="14">
                  <c:v>210587</c:v>
                </c:pt>
                <c:pt idx="15">
                  <c:v>221175</c:v>
                </c:pt>
                <c:pt idx="16">
                  <c:v>228568</c:v>
                </c:pt>
                <c:pt idx="17">
                  <c:v>233398</c:v>
                </c:pt>
                <c:pt idx="18">
                  <c:v>236594</c:v>
                </c:pt>
                <c:pt idx="19">
                  <c:v>235326</c:v>
                </c:pt>
                <c:pt idx="20">
                  <c:v>235339</c:v>
                </c:pt>
                <c:pt idx="21">
                  <c:v>239499</c:v>
                </c:pt>
                <c:pt idx="22">
                  <c:v>247663</c:v>
                </c:pt>
                <c:pt idx="23">
                  <c:v>259447</c:v>
                </c:pt>
                <c:pt idx="24">
                  <c:v>278056</c:v>
                </c:pt>
                <c:pt idx="25">
                  <c:v>2982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5D7-4FE5-9C8B-2C2E964D1FD8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80+ let</c:v>
                </c:pt>
              </c:strCache>
            </c:strRef>
          </c:tx>
          <c:spPr>
            <a:ln w="28575">
              <a:solidFill>
                <a:srgbClr val="C00000"/>
              </a:solidFill>
            </a:ln>
          </c:spPr>
          <c:marker>
            <c:symbol val="none"/>
          </c:marker>
          <c:cat>
            <c:numRef>
              <c:f>List1!$A$2:$A$27</c:f>
              <c:numCache>
                <c:formatCode>General</c:formatCode>
                <c:ptCount val="26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  <c:pt idx="3">
                  <c:v>2028</c:v>
                </c:pt>
                <c:pt idx="4">
                  <c:v>2029</c:v>
                </c:pt>
                <c:pt idx="5">
                  <c:v>2030</c:v>
                </c:pt>
                <c:pt idx="6">
                  <c:v>2031</c:v>
                </c:pt>
                <c:pt idx="7">
                  <c:v>2032</c:v>
                </c:pt>
                <c:pt idx="8">
                  <c:v>2033</c:v>
                </c:pt>
                <c:pt idx="9">
                  <c:v>2034</c:v>
                </c:pt>
                <c:pt idx="10">
                  <c:v>2035</c:v>
                </c:pt>
                <c:pt idx="11">
                  <c:v>2036</c:v>
                </c:pt>
                <c:pt idx="12">
                  <c:v>2037</c:v>
                </c:pt>
                <c:pt idx="13">
                  <c:v>2038</c:v>
                </c:pt>
                <c:pt idx="14">
                  <c:v>2039</c:v>
                </c:pt>
                <c:pt idx="15">
                  <c:v>2040</c:v>
                </c:pt>
                <c:pt idx="16">
                  <c:v>2041</c:v>
                </c:pt>
                <c:pt idx="17">
                  <c:v>2042</c:v>
                </c:pt>
                <c:pt idx="18">
                  <c:v>2043</c:v>
                </c:pt>
                <c:pt idx="19">
                  <c:v>2044</c:v>
                </c:pt>
                <c:pt idx="20">
                  <c:v>2045</c:v>
                </c:pt>
                <c:pt idx="21">
                  <c:v>2046</c:v>
                </c:pt>
                <c:pt idx="22">
                  <c:v>2047</c:v>
                </c:pt>
                <c:pt idx="23">
                  <c:v>2048</c:v>
                </c:pt>
                <c:pt idx="24">
                  <c:v>2049</c:v>
                </c:pt>
                <c:pt idx="25">
                  <c:v>2050</c:v>
                </c:pt>
              </c:numCache>
            </c:numRef>
          </c:cat>
          <c:val>
            <c:numRef>
              <c:f>List1!$E$2:$E$27</c:f>
              <c:numCache>
                <c:formatCode>#,##0</c:formatCode>
                <c:ptCount val="26"/>
                <c:pt idx="0">
                  <c:v>179492</c:v>
                </c:pt>
                <c:pt idx="1">
                  <c:v>187771</c:v>
                </c:pt>
                <c:pt idx="2">
                  <c:v>203291</c:v>
                </c:pt>
                <c:pt idx="3">
                  <c:v>219692</c:v>
                </c:pt>
                <c:pt idx="4">
                  <c:v>234045</c:v>
                </c:pt>
                <c:pt idx="5">
                  <c:v>246123</c:v>
                </c:pt>
                <c:pt idx="6">
                  <c:v>258379</c:v>
                </c:pt>
                <c:pt idx="7">
                  <c:v>270393</c:v>
                </c:pt>
                <c:pt idx="8">
                  <c:v>281748</c:v>
                </c:pt>
                <c:pt idx="9">
                  <c:v>291902</c:v>
                </c:pt>
                <c:pt idx="10">
                  <c:v>300909</c:v>
                </c:pt>
                <c:pt idx="11">
                  <c:v>309170</c:v>
                </c:pt>
                <c:pt idx="12">
                  <c:v>316574</c:v>
                </c:pt>
                <c:pt idx="13">
                  <c:v>322321</c:v>
                </c:pt>
                <c:pt idx="14">
                  <c:v>325127</c:v>
                </c:pt>
                <c:pt idx="15">
                  <c:v>325439</c:v>
                </c:pt>
                <c:pt idx="16">
                  <c:v>326302</c:v>
                </c:pt>
                <c:pt idx="17">
                  <c:v>327897</c:v>
                </c:pt>
                <c:pt idx="18">
                  <c:v>330721</c:v>
                </c:pt>
                <c:pt idx="19">
                  <c:v>337894</c:v>
                </c:pt>
                <c:pt idx="20">
                  <c:v>346722</c:v>
                </c:pt>
                <c:pt idx="21">
                  <c:v>353536</c:v>
                </c:pt>
                <c:pt idx="22">
                  <c:v>358988</c:v>
                </c:pt>
                <c:pt idx="23">
                  <c:v>364265</c:v>
                </c:pt>
                <c:pt idx="24">
                  <c:v>369555</c:v>
                </c:pt>
                <c:pt idx="25">
                  <c:v>3774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5D7-4FE5-9C8B-2C2E964D1F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14755840"/>
        <c:axId val="414762112"/>
      </c:lineChart>
      <c:catAx>
        <c:axId val="414755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/>
          <a:lstStyle/>
          <a:p>
            <a:pPr>
              <a:defRPr sz="1200"/>
            </a:pPr>
            <a:endParaRPr lang="cs-CZ"/>
          </a:p>
        </c:txPr>
        <c:crossAx val="414762112"/>
        <c:crosses val="autoZero"/>
        <c:auto val="1"/>
        <c:lblAlgn val="ctr"/>
        <c:lblOffset val="100"/>
        <c:tickLblSkip val="1"/>
        <c:noMultiLvlLbl val="0"/>
      </c:catAx>
      <c:valAx>
        <c:axId val="414762112"/>
        <c:scaling>
          <c:orientation val="minMax"/>
          <c:max val="60000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1200"/>
                </a:pPr>
                <a:r>
                  <a:rPr lang="cs-CZ" sz="1200" dirty="0"/>
                  <a:t>Vývoj</a:t>
                </a:r>
                <a:r>
                  <a:rPr lang="cs-CZ" sz="1200" baseline="0" dirty="0"/>
                  <a:t> počtu obyvatel ve věku 65+ v tisících</a:t>
                </a:r>
                <a:endParaRPr lang="cs-CZ" sz="1200" dirty="0"/>
              </a:p>
            </c:rich>
          </c:tx>
          <c:layout>
            <c:manualLayout>
              <c:xMode val="edge"/>
              <c:yMode val="edge"/>
              <c:x val="8.2422320613416769E-3"/>
              <c:y val="0.1503326474029754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_ ;[Red]\-#,##0\ 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414755840"/>
        <c:crosses val="autoZero"/>
        <c:crossBetween val="between"/>
        <c:dispUnits>
          <c:builtInUnit val="thousands"/>
        </c:dispUnits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514743130351063"/>
          <c:y val="0.77031547032342473"/>
          <c:w val="0.72854873925487951"/>
          <c:h val="5.6501063480260759E-2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 sz="1100" b="1"/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897017-FA6A-4C20-AF0D-0205BE99BB02}" type="datetimeFigureOut">
              <a:rPr lang="cs-CZ" smtClean="0"/>
              <a:pPr/>
              <a:t>25.03.2026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004888" y="685800"/>
            <a:ext cx="48482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E8C236-5132-404F-8756-42E126F72F4C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706365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8C7888-1034-AEEA-579F-C7EF894D24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Rectangle 2">
            <a:extLst>
              <a:ext uri="{FF2B5EF4-FFF2-40B4-BE49-F238E27FC236}">
                <a16:creationId xmlns:a16="http://schemas.microsoft.com/office/drawing/2014/main" id="{840219A7-40EA-46A0-CBE5-024EAA22EB9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81050" y="741363"/>
            <a:ext cx="5235575" cy="3702050"/>
          </a:xfrm>
          <a:ln/>
        </p:spPr>
      </p:sp>
      <p:sp>
        <p:nvSpPr>
          <p:cNvPr id="54274" name="Rectangle 3">
            <a:extLst>
              <a:ext uri="{FF2B5EF4-FFF2-40B4-BE49-F238E27FC236}">
                <a16:creationId xmlns:a16="http://schemas.microsoft.com/office/drawing/2014/main" id="{57FAB129-C8BE-8B1E-A2DC-807075BDFD0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18691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2245D5-454D-D93C-6501-EABBDA0143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4A460C55-488C-AB70-AECA-A8CB654CD1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6BE7AD8A-65D4-8A97-784B-B363CF9E7C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JZ120241115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46F1C68-1CE3-A83D-D2B2-34426C3AD3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1AF84F-1428-4A77-924B-854265A04D7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91986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BDE4B4-3A23-258B-3391-4B20C5912D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5D92EF83-1355-4E8D-3834-D9663B4D0A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B28480B5-3A70-72F4-5733-D32AB0816B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6398FBEC-F89A-AC16-4D11-D75EDF3BA9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7033AF-34F5-4986-A158-C0E70337A65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18601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914400" y="2677333"/>
            <a:ext cx="10363200" cy="1847400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828800" y="4883838"/>
            <a:ext cx="8534400" cy="220251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94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88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83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77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972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566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161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7557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/>
              <a:t>Kliknutím lze upravit styl předlohy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AEA09F-A583-4C0E-8DD5-1BF939047A55}" type="datetime1">
              <a:rPr lang="en-US" smtClean="0"/>
              <a:pPr/>
              <a:t>3/25/2026</a:t>
            </a:fld>
            <a:endParaRPr lang="en-US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21517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924102-5AA7-4A78-B1C4-BFBD8E76285E}" type="datetime1">
              <a:rPr lang="en-US" smtClean="0"/>
              <a:pPr/>
              <a:t>3/25/2026</a:t>
            </a:fld>
            <a:endParaRPr lang="en-US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6434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11785600" y="432923"/>
            <a:ext cx="3657600" cy="9242982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812800" y="432923"/>
            <a:ext cx="10769600" cy="9242982"/>
          </a:xfrm>
        </p:spPr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702E39-FED1-47BE-AC0D-D4AE05EBBE09}" type="datetime1">
              <a:rPr lang="en-US" smtClean="0"/>
              <a:pPr/>
              <a:t>3/25/2026</a:t>
            </a:fld>
            <a:endParaRPr lang="en-US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3898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86182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410488"/>
            <a:ext cx="10363200" cy="3000528"/>
          </a:xfrm>
        </p:spPr>
        <p:txBody>
          <a:bodyPr anchor="b">
            <a:normAutofit/>
          </a:bodyPr>
          <a:lstStyle>
            <a:lvl1pPr algn="l"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cs-CZ" dirty="0" err="1"/>
              <a:t>Click</a:t>
            </a:r>
            <a:r>
              <a:rPr lang="cs-CZ" dirty="0"/>
              <a:t> to </a:t>
            </a:r>
            <a:r>
              <a:rPr lang="cs-CZ" dirty="0" err="1"/>
              <a:t>edit</a:t>
            </a:r>
            <a:r>
              <a:rPr lang="cs-CZ" dirty="0"/>
              <a:t> Master </a:t>
            </a:r>
            <a:r>
              <a:rPr lang="cs-CZ" dirty="0" err="1"/>
              <a:t>title</a:t>
            </a:r>
            <a:r>
              <a:rPr lang="cs-CZ" dirty="0"/>
              <a:t>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52711-F5CF-4F4F-B825-F9EC28AFBD52}" type="datetime1">
              <a:rPr lang="en-US" smtClean="0"/>
              <a:pPr/>
              <a:t>3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1140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86182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625599"/>
            <a:ext cx="10515600" cy="1117601"/>
          </a:xfrm>
        </p:spPr>
        <p:txBody>
          <a:bodyPr anchor="t">
            <a:normAutofit/>
          </a:bodyPr>
          <a:lstStyle>
            <a:lvl1pPr>
              <a:defRPr sz="2800" b="1" cap="all" baseline="0"/>
            </a:lvl1pPr>
          </a:lstStyle>
          <a:p>
            <a:r>
              <a:rPr lang="cs-CZ" dirty="0" err="1"/>
              <a:t>Click</a:t>
            </a:r>
            <a:r>
              <a:rPr lang="cs-CZ" dirty="0"/>
              <a:t> to </a:t>
            </a:r>
            <a:r>
              <a:rPr lang="cs-CZ" dirty="0" err="1"/>
              <a:t>edit</a:t>
            </a:r>
            <a:r>
              <a:rPr lang="cs-CZ" dirty="0"/>
              <a:t> Master </a:t>
            </a:r>
            <a:r>
              <a:rPr lang="cs-CZ" dirty="0" err="1"/>
              <a:t>title</a:t>
            </a:r>
            <a:r>
              <a:rPr lang="cs-CZ" dirty="0"/>
              <a:t>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1A3A4C-1749-4792-8DB7-2ABAEE67FBED}" type="datetime1">
              <a:rPr lang="en-US" smtClean="0"/>
              <a:pPr/>
              <a:t>3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076575"/>
            <a:ext cx="10515600" cy="639082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pPr lvl="0"/>
            <a:r>
              <a:rPr lang="cs-CZ" dirty="0" err="1"/>
              <a:t>Equamet</a:t>
            </a:r>
            <a:r>
              <a:rPr lang="cs-CZ" dirty="0"/>
              <a:t> </a:t>
            </a:r>
            <a:r>
              <a:rPr lang="cs-CZ" dirty="0" err="1"/>
              <a:t>landam</a:t>
            </a:r>
            <a:r>
              <a:rPr lang="cs-CZ" dirty="0"/>
              <a:t> </a:t>
            </a:r>
            <a:r>
              <a:rPr lang="cs-CZ" dirty="0" err="1"/>
              <a:t>ellabo</a:t>
            </a:r>
            <a:r>
              <a:rPr lang="cs-CZ" dirty="0"/>
              <a:t>.</a:t>
            </a:r>
          </a:p>
          <a:p>
            <a:pPr lvl="0"/>
            <a:r>
              <a:rPr lang="cs-CZ" dirty="0"/>
              <a:t>To </a:t>
            </a:r>
            <a:r>
              <a:rPr lang="cs-CZ" dirty="0" err="1"/>
              <a:t>que</a:t>
            </a:r>
            <a:r>
              <a:rPr lang="cs-CZ" dirty="0"/>
              <a:t> </a:t>
            </a:r>
            <a:r>
              <a:rPr lang="cs-CZ" dirty="0" err="1"/>
              <a:t>diti</a:t>
            </a:r>
            <a:r>
              <a:rPr lang="cs-CZ" dirty="0"/>
              <a:t> as </a:t>
            </a:r>
            <a:r>
              <a:rPr lang="cs-CZ" dirty="0" err="1"/>
              <a:t>adit</a:t>
            </a:r>
            <a:r>
              <a:rPr lang="cs-CZ" dirty="0"/>
              <a:t> </a:t>
            </a:r>
            <a:r>
              <a:rPr lang="cs-CZ" dirty="0" err="1"/>
              <a:t>andam</a:t>
            </a:r>
            <a:r>
              <a:rPr lang="cs-CZ" dirty="0"/>
              <a:t> </a:t>
            </a:r>
            <a:r>
              <a:rPr lang="cs-CZ" dirty="0" err="1"/>
              <a:t>aditiori</a:t>
            </a:r>
            <a:r>
              <a:rPr lang="cs-CZ" dirty="0"/>
              <a:t>.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4049032"/>
            <a:ext cx="10515600" cy="376782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 dirty="0"/>
              <a:t>Tur </a:t>
            </a:r>
            <a:r>
              <a:rPr lang="en-US" dirty="0" err="1"/>
              <a:t>renda</a:t>
            </a:r>
            <a:r>
              <a:rPr lang="en-US" dirty="0"/>
              <a:t> </a:t>
            </a:r>
            <a:r>
              <a:rPr lang="en-US" dirty="0" err="1"/>
              <a:t>doloriam</a:t>
            </a:r>
            <a:r>
              <a:rPr lang="en-US" dirty="0"/>
              <a:t> </a:t>
            </a:r>
            <a:r>
              <a:rPr lang="en-US" dirty="0" err="1"/>
              <a:t>volupta</a:t>
            </a:r>
            <a:r>
              <a:rPr lang="en-US" dirty="0"/>
              <a:t> </a:t>
            </a:r>
            <a:r>
              <a:rPr lang="en-US" dirty="0" err="1"/>
              <a:t>eperum</a:t>
            </a:r>
            <a:r>
              <a:rPr lang="en-US" dirty="0"/>
              <a:t> </a:t>
            </a:r>
            <a:r>
              <a:rPr lang="en-US" dirty="0" err="1"/>
              <a:t>natia</a:t>
            </a:r>
            <a:r>
              <a:rPr lang="en-US" dirty="0"/>
              <a:t> </a:t>
            </a:r>
            <a:r>
              <a:rPr lang="en-US" dirty="0" err="1"/>
              <a:t>initate</a:t>
            </a:r>
            <a:endParaRPr lang="en-US" dirty="0"/>
          </a:p>
          <a:p>
            <a:pPr lvl="0"/>
            <a:r>
              <a:rPr lang="en-US" dirty="0" err="1"/>
              <a:t>veliquidi</a:t>
            </a:r>
            <a:r>
              <a:rPr lang="en-US" dirty="0"/>
              <a:t> </a:t>
            </a:r>
            <a:r>
              <a:rPr lang="en-US" dirty="0" err="1"/>
              <a:t>doluptatur</a:t>
            </a:r>
            <a:r>
              <a:rPr lang="en-US" dirty="0"/>
              <a:t> rem </a:t>
            </a:r>
            <a:r>
              <a:rPr lang="en-US" dirty="0" err="1"/>
              <a:t>que</a:t>
            </a:r>
            <a:r>
              <a:rPr lang="en-US" dirty="0"/>
              <a:t> </a:t>
            </a:r>
            <a:r>
              <a:rPr lang="en-US" dirty="0" err="1"/>
              <a:t>nonseque</a:t>
            </a:r>
            <a:r>
              <a:rPr lang="en-US" dirty="0"/>
              <a:t> </a:t>
            </a:r>
            <a:r>
              <a:rPr lang="en-US" dirty="0" err="1"/>
              <a:t>optatempores</a:t>
            </a:r>
            <a:endParaRPr lang="en-US" dirty="0"/>
          </a:p>
          <a:p>
            <a:pPr lvl="0"/>
            <a:r>
              <a:rPr lang="en-US" dirty="0"/>
              <a:t>ab </a:t>
            </a:r>
            <a:r>
              <a:rPr lang="en-US" dirty="0" err="1"/>
              <a:t>ipis</a:t>
            </a:r>
            <a:r>
              <a:rPr lang="en-US" dirty="0"/>
              <a:t> </a:t>
            </a:r>
            <a:r>
              <a:rPr lang="en-US" dirty="0" err="1"/>
              <a:t>dolupitasit</a:t>
            </a:r>
            <a:r>
              <a:rPr lang="en-US" dirty="0"/>
              <a:t> </a:t>
            </a:r>
            <a:r>
              <a:rPr lang="en-US" dirty="0" err="1"/>
              <a:t>harcipisti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volorrorpos</a:t>
            </a:r>
            <a:r>
              <a:rPr lang="en-US" dirty="0"/>
              <a:t> </a:t>
            </a:r>
            <a:r>
              <a:rPr lang="en-US" dirty="0" err="1"/>
              <a:t>maiosam</a:t>
            </a:r>
            <a:r>
              <a:rPr lang="en-US" dirty="0"/>
              <a:t>,</a:t>
            </a:r>
          </a:p>
          <a:p>
            <a:pPr lvl="0"/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erumquod</a:t>
            </a:r>
            <a:r>
              <a:rPr lang="en-US" dirty="0"/>
              <a:t> quae </a:t>
            </a:r>
            <a:r>
              <a:rPr lang="en-US" dirty="0" err="1"/>
              <a:t>etur</a:t>
            </a:r>
            <a:r>
              <a:rPr lang="en-US" dirty="0"/>
              <a:t>? </a:t>
            </a:r>
            <a:r>
              <a:rPr lang="en-US" dirty="0" err="1"/>
              <a:t>Quidellant</a:t>
            </a:r>
            <a:r>
              <a:rPr lang="en-US" dirty="0"/>
              <a:t> </a:t>
            </a:r>
            <a:r>
              <a:rPr lang="en-US" dirty="0" err="1"/>
              <a:t>quatur</a:t>
            </a:r>
            <a:endParaRPr lang="en-US" dirty="0"/>
          </a:p>
          <a:p>
            <a:pPr lvl="0"/>
            <a:r>
              <a:rPr lang="en-US" dirty="0" err="1"/>
              <a:t>sendus</a:t>
            </a:r>
            <a:r>
              <a:rPr lang="en-US" dirty="0"/>
              <a:t>, </a:t>
            </a:r>
            <a:r>
              <a:rPr lang="en-US" dirty="0" err="1"/>
              <a:t>sincill</a:t>
            </a:r>
            <a:r>
              <a:rPr lang="en-US" dirty="0"/>
              <a:t> </a:t>
            </a:r>
            <a:r>
              <a:rPr lang="en-US" dirty="0" err="1"/>
              <a:t>aceperibus</a:t>
            </a:r>
            <a:r>
              <a:rPr lang="en-US" dirty="0"/>
              <a:t> </a:t>
            </a:r>
            <a:r>
              <a:rPr lang="en-US" dirty="0" err="1"/>
              <a:t>andit</a:t>
            </a:r>
            <a:r>
              <a:rPr lang="en-US" dirty="0"/>
              <a:t> </a:t>
            </a:r>
            <a:r>
              <a:rPr lang="en-US" dirty="0" err="1"/>
              <a:t>volore</a:t>
            </a:r>
            <a:r>
              <a:rPr lang="en-US" dirty="0"/>
              <a:t> </a:t>
            </a:r>
            <a:r>
              <a:rPr lang="en-US" dirty="0" err="1"/>
              <a:t>volorion</a:t>
            </a:r>
            <a:r>
              <a:rPr lang="en-US" dirty="0"/>
              <a:t> res et</a:t>
            </a:r>
          </a:p>
          <a:p>
            <a:pPr lvl="0"/>
            <a:r>
              <a:rPr lang="en-US" dirty="0" err="1"/>
              <a:t>eos</a:t>
            </a:r>
            <a:r>
              <a:rPr lang="en-US" dirty="0"/>
              <a:t> </a:t>
            </a:r>
            <a:r>
              <a:rPr lang="en-US" dirty="0" err="1"/>
              <a:t>verum</a:t>
            </a:r>
            <a:r>
              <a:rPr lang="en-US" dirty="0"/>
              <a:t> quo </a:t>
            </a:r>
            <a:r>
              <a:rPr lang="en-US" dirty="0" err="1"/>
              <a:t>dolut</a:t>
            </a:r>
            <a:r>
              <a:rPr lang="en-US" dirty="0"/>
              <a:t> </a:t>
            </a:r>
            <a:r>
              <a:rPr lang="en-US" dirty="0" err="1"/>
              <a:t>inctoremque</a:t>
            </a:r>
            <a:r>
              <a:rPr lang="en-US" dirty="0"/>
              <a:t> </a:t>
            </a:r>
            <a:r>
              <a:rPr lang="en-US" dirty="0" err="1"/>
              <a:t>quamenem</a:t>
            </a:r>
            <a:r>
              <a:rPr lang="en-US" dirty="0"/>
              <a:t> </a:t>
            </a:r>
            <a:r>
              <a:rPr lang="en-US" dirty="0" err="1"/>
              <a:t>aliqui</a:t>
            </a:r>
            <a:endParaRPr lang="en-US" dirty="0"/>
          </a:p>
          <a:p>
            <a:pPr lvl="0"/>
            <a:r>
              <a:rPr lang="en-US" dirty="0" err="1"/>
              <a:t>ressequist</a:t>
            </a:r>
            <a:r>
              <a:rPr lang="en-US" dirty="0"/>
              <a:t>, </a:t>
            </a:r>
            <a:r>
              <a:rPr lang="en-US" dirty="0" err="1"/>
              <a:t>consequ</a:t>
            </a:r>
            <a:r>
              <a:rPr lang="en-US" dirty="0"/>
              <a:t> </a:t>
            </a:r>
            <a:r>
              <a:rPr lang="en-US" dirty="0" err="1"/>
              <a:t>odicienia</a:t>
            </a:r>
            <a:r>
              <a:rPr lang="en-US" dirty="0"/>
              <a:t> </a:t>
            </a:r>
            <a:r>
              <a:rPr lang="en-US" dirty="0" err="1"/>
              <a:t>es</a:t>
            </a:r>
            <a:r>
              <a:rPr lang="en-US" dirty="0"/>
              <a:t> invent </a:t>
            </a:r>
            <a:r>
              <a:rPr lang="en-US" dirty="0" err="1"/>
              <a:t>ut</a:t>
            </a:r>
            <a:r>
              <a:rPr lang="en-US" dirty="0"/>
              <a:t> et </a:t>
            </a:r>
            <a:r>
              <a:rPr lang="en-US" dirty="0" err="1"/>
              <a:t>aut</a:t>
            </a:r>
            <a:r>
              <a:rPr lang="en-US" dirty="0"/>
              <a:t> re</a:t>
            </a:r>
          </a:p>
          <a:p>
            <a:pPr lvl="0"/>
            <a:r>
              <a:rPr lang="en-US" dirty="0" err="1"/>
              <a:t>nonsera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voloria</a:t>
            </a:r>
            <a:r>
              <a:rPr lang="en-US" dirty="0"/>
              <a:t> </a:t>
            </a:r>
            <a:r>
              <a:rPr lang="en-US" dirty="0" err="1"/>
              <a:t>quassi</a:t>
            </a:r>
            <a:r>
              <a:rPr lang="en-US" dirty="0"/>
              <a:t> </a:t>
            </a:r>
            <a:r>
              <a:rPr lang="en-US" dirty="0" err="1"/>
              <a:t>invel</a:t>
            </a:r>
            <a:r>
              <a:rPr lang="en-US" dirty="0"/>
              <a:t> ma </a:t>
            </a:r>
            <a:r>
              <a:rPr lang="en-US" dirty="0" err="1"/>
              <a:t>voluptata</a:t>
            </a:r>
            <a:r>
              <a:rPr lang="en-US" dirty="0"/>
              <a:t> </a:t>
            </a:r>
            <a:r>
              <a:rPr lang="en-US" dirty="0" err="1"/>
              <a:t>exceped</a:t>
            </a:r>
            <a:endParaRPr lang="en-US" dirty="0"/>
          </a:p>
          <a:p>
            <a:pPr lvl="0"/>
            <a:r>
              <a:rPr lang="en-US" dirty="0" err="1"/>
              <a:t>que</a:t>
            </a:r>
            <a:r>
              <a:rPr lang="en-US" dirty="0"/>
              <a:t> et </a:t>
            </a:r>
            <a:r>
              <a:rPr lang="en-US" dirty="0" err="1"/>
              <a:t>ommodi</a:t>
            </a:r>
            <a:r>
              <a:rPr lang="en-US" dirty="0"/>
              <a:t> </a:t>
            </a:r>
            <a:r>
              <a:rPr lang="en-US" dirty="0" err="1"/>
              <a:t>offi</a:t>
            </a:r>
            <a:r>
              <a:rPr lang="en-US" dirty="0"/>
              <a:t> </a:t>
            </a:r>
            <a:r>
              <a:rPr lang="en-US" dirty="0" err="1"/>
              <a:t>cimint</a:t>
            </a:r>
            <a:r>
              <a:rPr lang="en-US" dirty="0"/>
              <a:t>, </a:t>
            </a:r>
            <a:r>
              <a:rPr lang="en-US" dirty="0" err="1"/>
              <a:t>omnimusdanis</a:t>
            </a:r>
            <a:r>
              <a:rPr lang="en-US" dirty="0"/>
              <a:t> </a:t>
            </a:r>
            <a:r>
              <a:rPr lang="en-US" dirty="0" err="1"/>
              <a:t>destrum</a:t>
            </a:r>
            <a:endParaRPr lang="en-US" dirty="0"/>
          </a:p>
          <a:p>
            <a:pPr lvl="0"/>
            <a:r>
              <a:rPr lang="en-US" dirty="0" err="1"/>
              <a:t>quasitiosto</a:t>
            </a:r>
            <a:r>
              <a:rPr lang="en-US" dirty="0"/>
              <a:t> dolor </a:t>
            </a:r>
            <a:r>
              <a:rPr lang="en-US" dirty="0" err="1"/>
              <a:t>acius</a:t>
            </a:r>
            <a:r>
              <a:rPr lang="en-US" dirty="0"/>
              <a:t>, </a:t>
            </a:r>
            <a:r>
              <a:rPr lang="en-US" dirty="0" err="1"/>
              <a:t>quiam</a:t>
            </a:r>
            <a:r>
              <a:rPr lang="en-US" dirty="0"/>
              <a:t> et </a:t>
            </a:r>
            <a:r>
              <a:rPr lang="en-US" dirty="0" err="1"/>
              <a:t>molorem</a:t>
            </a:r>
            <a:r>
              <a:rPr lang="en-US" dirty="0"/>
              <a:t> </a:t>
            </a:r>
            <a:r>
              <a:rPr lang="en-US" dirty="0" err="1"/>
              <a:t>quidis</a:t>
            </a:r>
            <a:endParaRPr lang="en-US" dirty="0"/>
          </a:p>
          <a:p>
            <a:pPr lvl="0"/>
            <a:r>
              <a:rPr lang="en-US" dirty="0" err="1"/>
              <a:t>magnimp</a:t>
            </a:r>
            <a:r>
              <a:rPr lang="en-US" dirty="0"/>
              <a:t> </a:t>
            </a:r>
            <a:r>
              <a:rPr lang="en-US" dirty="0" err="1"/>
              <a:t>oratur</a:t>
            </a:r>
            <a:r>
              <a:rPr lang="en-US" dirty="0"/>
              <a:t>, </a:t>
            </a:r>
            <a:r>
              <a:rPr lang="en-US" dirty="0" err="1"/>
              <a:t>sitibus</a:t>
            </a:r>
            <a:r>
              <a:rPr lang="en-US" dirty="0"/>
              <a:t> </a:t>
            </a:r>
            <a:r>
              <a:rPr lang="en-US" dirty="0" err="1"/>
              <a:t>eliquiae</a:t>
            </a:r>
            <a:r>
              <a:rPr lang="en-US" dirty="0"/>
              <a:t> </a:t>
            </a:r>
            <a:r>
              <a:rPr lang="en-US" dirty="0" err="1"/>
              <a:t>ni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</a:t>
            </a:r>
            <a:r>
              <a:rPr lang="en-US" dirty="0" err="1"/>
              <a:t>sim</a:t>
            </a:r>
            <a:r>
              <a:rPr lang="en-US" dirty="0"/>
              <a:t> </a:t>
            </a:r>
            <a:r>
              <a:rPr lang="en-US" dirty="0" err="1"/>
              <a:t>fugia</a:t>
            </a:r>
            <a:endParaRPr lang="en-US" dirty="0"/>
          </a:p>
          <a:p>
            <a:pPr lvl="0"/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vollabo</a:t>
            </a:r>
            <a:r>
              <a:rPr lang="en-US" dirty="0"/>
              <a:t> </a:t>
            </a:r>
            <a:r>
              <a:rPr lang="en-US" dirty="0" err="1"/>
              <a:t>ritati</a:t>
            </a:r>
            <a:r>
              <a:rPr lang="en-US" dirty="0"/>
              <a:t> </a:t>
            </a:r>
            <a:r>
              <a:rPr lang="en-US" dirty="0" err="1"/>
              <a:t>nectur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sit repel </a:t>
            </a:r>
            <a:r>
              <a:rPr lang="en-US" dirty="0" err="1"/>
              <a:t>illit</a:t>
            </a:r>
            <a:r>
              <a:rPr lang="en-US" dirty="0"/>
              <a:t> </a:t>
            </a:r>
            <a:r>
              <a:rPr lang="en-US" dirty="0" err="1"/>
              <a:t>aditioressit</a:t>
            </a:r>
            <a:endParaRPr lang="en-US" dirty="0"/>
          </a:p>
          <a:p>
            <a:pPr lvl="0"/>
            <a:r>
              <a:rPr lang="en-US" dirty="0" err="1"/>
              <a:t>laut</a:t>
            </a:r>
            <a:r>
              <a:rPr lang="en-US" dirty="0"/>
              <a:t> </a:t>
            </a:r>
            <a:r>
              <a:rPr lang="en-US" dirty="0" err="1"/>
              <a:t>quiam</a:t>
            </a:r>
            <a:r>
              <a:rPr lang="en-US" dirty="0"/>
              <a:t> </a:t>
            </a:r>
            <a:r>
              <a:rPr lang="en-US" dirty="0" err="1"/>
              <a:t>inus</a:t>
            </a:r>
            <a:r>
              <a:rPr lang="en-US" dirty="0"/>
              <a:t>.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7399" y="6817011"/>
            <a:ext cx="1726401" cy="999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0607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7238387"/>
            <a:ext cx="1960776" cy="13919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8" y="-11847"/>
            <a:ext cx="2051957" cy="1641627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</p:spTree>
    <p:extLst>
      <p:ext uri="{BB962C8B-B14F-4D97-AF65-F5344CB8AC3E}">
        <p14:creationId xmlns:p14="http://schemas.microsoft.com/office/powerpoint/2010/main" val="26974951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7238387"/>
            <a:ext cx="1960776" cy="13919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8" y="-11847"/>
            <a:ext cx="2051957" cy="1641627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CA797ED8-728E-4B69-2BBD-C59909EE8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201398"/>
            <a:ext cx="11386173" cy="676569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87744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787E9-E601-40E1-AA72-A27F8DCE18E1}" type="datetime1">
              <a:rPr lang="en-US" smtClean="0"/>
              <a:pPr/>
              <a:t>3/25/2026</a:t>
            </a:fld>
            <a:endParaRPr lang="en-US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3563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5538211"/>
            <a:ext cx="10363200" cy="1711737"/>
          </a:xfrm>
        </p:spPr>
        <p:txBody>
          <a:bodyPr anchor="t"/>
          <a:lstStyle>
            <a:lvl1pPr algn="l">
              <a:defRPr sz="5200" b="1" cap="all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3652906"/>
            <a:ext cx="10363200" cy="1885305"/>
          </a:xfrm>
        </p:spPr>
        <p:txBody>
          <a:bodyPr anchor="b"/>
          <a:lstStyle>
            <a:lvl1pPr marL="0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1pPr>
            <a:lvl2pPr marL="59447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2pPr>
            <a:lvl3pPr marL="118894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78341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37788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97235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56682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416129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75576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D58E4-6B07-4FA0-9572-D7BBA5667935}" type="datetime1">
              <a:rPr lang="en-US" smtClean="0"/>
              <a:pPr/>
              <a:t>3/25/2026</a:t>
            </a:fld>
            <a:endParaRPr lang="en-US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3339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812800" y="2527706"/>
            <a:ext cx="7213600" cy="7148199"/>
          </a:xfrm>
        </p:spPr>
        <p:txBody>
          <a:bodyPr/>
          <a:lstStyle>
            <a:lvl1pPr>
              <a:defRPr sz="3600"/>
            </a:lvl1pPr>
            <a:lvl2pPr>
              <a:defRPr sz="3100"/>
            </a:lvl2pPr>
            <a:lvl3pPr>
              <a:defRPr sz="26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8229600" y="2527706"/>
            <a:ext cx="7213600" cy="7148199"/>
          </a:xfrm>
        </p:spPr>
        <p:txBody>
          <a:bodyPr/>
          <a:lstStyle>
            <a:lvl1pPr>
              <a:defRPr sz="3600"/>
            </a:lvl1pPr>
            <a:lvl2pPr>
              <a:defRPr sz="3100"/>
            </a:lvl2pPr>
            <a:lvl3pPr>
              <a:defRPr sz="26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B82D2-2370-4E74-9B55-8EE3C065743B}" type="datetime1">
              <a:rPr lang="en-US" smtClean="0"/>
              <a:pPr/>
              <a:t>3/25/2026</a:t>
            </a:fld>
            <a:endParaRPr lang="en-US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594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09600" y="345141"/>
            <a:ext cx="10972800" cy="1436423"/>
          </a:xfrm>
        </p:spPr>
        <p:txBody>
          <a:bodyPr/>
          <a:lstStyle>
            <a:lvl1pPr>
              <a:defRPr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09600" y="1929198"/>
            <a:ext cx="5386917" cy="803997"/>
          </a:xfrm>
        </p:spPr>
        <p:txBody>
          <a:bodyPr anchor="b"/>
          <a:lstStyle>
            <a:lvl1pPr marL="0" indent="0">
              <a:buNone/>
              <a:defRPr sz="3100" b="1"/>
            </a:lvl1pPr>
            <a:lvl2pPr marL="594470" indent="0">
              <a:buNone/>
              <a:defRPr sz="2600" b="1"/>
            </a:lvl2pPr>
            <a:lvl3pPr marL="1188940" indent="0">
              <a:buNone/>
              <a:defRPr sz="2300" b="1"/>
            </a:lvl3pPr>
            <a:lvl4pPr marL="1783410" indent="0">
              <a:buNone/>
              <a:defRPr sz="2100" b="1"/>
            </a:lvl4pPr>
            <a:lvl5pPr marL="2377880" indent="0">
              <a:buNone/>
              <a:defRPr sz="2100" b="1"/>
            </a:lvl5pPr>
            <a:lvl6pPr marL="2972350" indent="0">
              <a:buNone/>
              <a:defRPr sz="2100" b="1"/>
            </a:lvl6pPr>
            <a:lvl7pPr marL="3566820" indent="0">
              <a:buNone/>
              <a:defRPr sz="2100" b="1"/>
            </a:lvl7pPr>
            <a:lvl8pPr marL="4161290" indent="0">
              <a:buNone/>
              <a:defRPr sz="2100" b="1"/>
            </a:lvl8pPr>
            <a:lvl9pPr marL="4755760" indent="0">
              <a:buNone/>
              <a:defRPr sz="21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09600" y="2733195"/>
            <a:ext cx="5386917" cy="4965635"/>
          </a:xfrm>
        </p:spPr>
        <p:txBody>
          <a:bodyPr/>
          <a:lstStyle>
            <a:lvl1pPr>
              <a:defRPr sz="3100"/>
            </a:lvl1pPr>
            <a:lvl2pPr>
              <a:defRPr sz="26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193369" y="1929198"/>
            <a:ext cx="5389033" cy="803997"/>
          </a:xfrm>
        </p:spPr>
        <p:txBody>
          <a:bodyPr anchor="b"/>
          <a:lstStyle>
            <a:lvl1pPr marL="0" indent="0">
              <a:buNone/>
              <a:defRPr sz="3100" b="1"/>
            </a:lvl1pPr>
            <a:lvl2pPr marL="594470" indent="0">
              <a:buNone/>
              <a:defRPr sz="2600" b="1"/>
            </a:lvl2pPr>
            <a:lvl3pPr marL="1188940" indent="0">
              <a:buNone/>
              <a:defRPr sz="2300" b="1"/>
            </a:lvl3pPr>
            <a:lvl4pPr marL="1783410" indent="0">
              <a:buNone/>
              <a:defRPr sz="2100" b="1"/>
            </a:lvl4pPr>
            <a:lvl5pPr marL="2377880" indent="0">
              <a:buNone/>
              <a:defRPr sz="2100" b="1"/>
            </a:lvl5pPr>
            <a:lvl6pPr marL="2972350" indent="0">
              <a:buNone/>
              <a:defRPr sz="2100" b="1"/>
            </a:lvl6pPr>
            <a:lvl7pPr marL="3566820" indent="0">
              <a:buNone/>
              <a:defRPr sz="2100" b="1"/>
            </a:lvl7pPr>
            <a:lvl8pPr marL="4161290" indent="0">
              <a:buNone/>
              <a:defRPr sz="2100" b="1"/>
            </a:lvl8pPr>
            <a:lvl9pPr marL="4755760" indent="0">
              <a:buNone/>
              <a:defRPr sz="21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193369" y="2733195"/>
            <a:ext cx="5389033" cy="4965635"/>
          </a:xfrm>
        </p:spPr>
        <p:txBody>
          <a:bodyPr/>
          <a:lstStyle>
            <a:lvl1pPr>
              <a:defRPr sz="3100"/>
            </a:lvl1pPr>
            <a:lvl2pPr>
              <a:defRPr sz="26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9CDB9-0B63-441D-B033-0FD5374D1E8C}" type="datetime1">
              <a:rPr lang="en-US" smtClean="0"/>
              <a:pPr/>
              <a:t>3/25/2026</a:t>
            </a:fld>
            <a:endParaRPr lang="en-US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89346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EA673-416B-45EB-8B48-4D08BD5D4B10}" type="datetime1">
              <a:rPr lang="en-US" smtClean="0"/>
              <a:pPr/>
              <a:t>3/25/2026</a:t>
            </a:fld>
            <a:endParaRPr lang="en-US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14046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DE7DD-E257-4CE3-824D-BB273F296307}" type="datetime1">
              <a:rPr lang="en-US" smtClean="0"/>
              <a:pPr/>
              <a:t>3/25/2026</a:t>
            </a:fld>
            <a:endParaRPr lang="en-US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1632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09602" y="343147"/>
            <a:ext cx="4011084" cy="1460363"/>
          </a:xfrm>
        </p:spPr>
        <p:txBody>
          <a:bodyPr anchor="b"/>
          <a:lstStyle>
            <a:lvl1pPr algn="l">
              <a:defRPr sz="2600" b="1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766733" y="343148"/>
            <a:ext cx="6815667" cy="7355683"/>
          </a:xfrm>
        </p:spPr>
        <p:txBody>
          <a:bodyPr/>
          <a:lstStyle>
            <a:lvl1pPr>
              <a:defRPr sz="4200"/>
            </a:lvl1pPr>
            <a:lvl2pPr>
              <a:defRPr sz="3600"/>
            </a:lvl2pPr>
            <a:lvl3pPr>
              <a:defRPr sz="3100"/>
            </a:lvl3pPr>
            <a:lvl4pPr>
              <a:defRPr sz="2600"/>
            </a:lvl4pPr>
            <a:lvl5pPr>
              <a:defRPr sz="2600"/>
            </a:lvl5pPr>
            <a:lvl6pPr>
              <a:defRPr sz="2600"/>
            </a:lvl6pPr>
            <a:lvl7pPr>
              <a:defRPr sz="2600"/>
            </a:lvl7pPr>
            <a:lvl8pPr>
              <a:defRPr sz="2600"/>
            </a:lvl8pPr>
            <a:lvl9pPr>
              <a:defRPr sz="26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609602" y="1803511"/>
            <a:ext cx="4011084" cy="5895320"/>
          </a:xfrm>
        </p:spPr>
        <p:txBody>
          <a:bodyPr/>
          <a:lstStyle>
            <a:lvl1pPr marL="0" indent="0">
              <a:buNone/>
              <a:defRPr sz="1800"/>
            </a:lvl1pPr>
            <a:lvl2pPr marL="594470" indent="0">
              <a:buNone/>
              <a:defRPr sz="1600"/>
            </a:lvl2pPr>
            <a:lvl3pPr marL="1188940" indent="0">
              <a:buNone/>
              <a:defRPr sz="1300"/>
            </a:lvl3pPr>
            <a:lvl4pPr marL="1783410" indent="0">
              <a:buNone/>
              <a:defRPr sz="1200"/>
            </a:lvl4pPr>
            <a:lvl5pPr marL="2377880" indent="0">
              <a:buNone/>
              <a:defRPr sz="1200"/>
            </a:lvl5pPr>
            <a:lvl6pPr marL="2972350" indent="0">
              <a:buNone/>
              <a:defRPr sz="1200"/>
            </a:lvl6pPr>
            <a:lvl7pPr marL="3566820" indent="0">
              <a:buNone/>
              <a:defRPr sz="1200"/>
            </a:lvl7pPr>
            <a:lvl8pPr marL="4161290" indent="0">
              <a:buNone/>
              <a:defRPr sz="1200"/>
            </a:lvl8pPr>
            <a:lvl9pPr marL="4755760" indent="0">
              <a:buNone/>
              <a:defRPr sz="12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48F3C-2C4E-42EF-9A3C-C843E9DE9E00}" type="datetime1">
              <a:rPr lang="en-US" smtClean="0"/>
              <a:pPr/>
              <a:t>3/25/2026</a:t>
            </a:fld>
            <a:endParaRPr lang="en-US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1659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389717" y="6032978"/>
            <a:ext cx="7315200" cy="712227"/>
          </a:xfrm>
        </p:spPr>
        <p:txBody>
          <a:bodyPr anchor="b"/>
          <a:lstStyle>
            <a:lvl1pPr algn="l">
              <a:defRPr sz="2600" b="1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2389717" y="770082"/>
            <a:ext cx="7315200" cy="5171123"/>
          </a:xfrm>
        </p:spPr>
        <p:txBody>
          <a:bodyPr/>
          <a:lstStyle>
            <a:lvl1pPr marL="0" indent="0">
              <a:buNone/>
              <a:defRPr sz="4200"/>
            </a:lvl1pPr>
            <a:lvl2pPr marL="594470" indent="0">
              <a:buNone/>
              <a:defRPr sz="3600"/>
            </a:lvl2pPr>
            <a:lvl3pPr marL="1188940" indent="0">
              <a:buNone/>
              <a:defRPr sz="3100"/>
            </a:lvl3pPr>
            <a:lvl4pPr marL="1783410" indent="0">
              <a:buNone/>
              <a:defRPr sz="2600"/>
            </a:lvl4pPr>
            <a:lvl5pPr marL="2377880" indent="0">
              <a:buNone/>
              <a:defRPr sz="2600"/>
            </a:lvl5pPr>
            <a:lvl6pPr marL="2972350" indent="0">
              <a:buNone/>
              <a:defRPr sz="2600"/>
            </a:lvl6pPr>
            <a:lvl7pPr marL="3566820" indent="0">
              <a:buNone/>
              <a:defRPr sz="2600"/>
            </a:lvl7pPr>
            <a:lvl8pPr marL="4161290" indent="0">
              <a:buNone/>
              <a:defRPr sz="2600"/>
            </a:lvl8pPr>
            <a:lvl9pPr marL="4755760" indent="0">
              <a:buNone/>
              <a:defRPr sz="26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2389717" y="6745203"/>
            <a:ext cx="7315200" cy="1011481"/>
          </a:xfrm>
        </p:spPr>
        <p:txBody>
          <a:bodyPr/>
          <a:lstStyle>
            <a:lvl1pPr marL="0" indent="0">
              <a:buNone/>
              <a:defRPr sz="1800"/>
            </a:lvl1pPr>
            <a:lvl2pPr marL="594470" indent="0">
              <a:buNone/>
              <a:defRPr sz="1600"/>
            </a:lvl2pPr>
            <a:lvl3pPr marL="1188940" indent="0">
              <a:buNone/>
              <a:defRPr sz="1300"/>
            </a:lvl3pPr>
            <a:lvl4pPr marL="1783410" indent="0">
              <a:buNone/>
              <a:defRPr sz="1200"/>
            </a:lvl4pPr>
            <a:lvl5pPr marL="2377880" indent="0">
              <a:buNone/>
              <a:defRPr sz="1200"/>
            </a:lvl5pPr>
            <a:lvl6pPr marL="2972350" indent="0">
              <a:buNone/>
              <a:defRPr sz="1200"/>
            </a:lvl6pPr>
            <a:lvl7pPr marL="3566820" indent="0">
              <a:buNone/>
              <a:defRPr sz="1200"/>
            </a:lvl7pPr>
            <a:lvl8pPr marL="4161290" indent="0">
              <a:buNone/>
              <a:defRPr sz="1200"/>
            </a:lvl8pPr>
            <a:lvl9pPr marL="4755760" indent="0">
              <a:buNone/>
              <a:defRPr sz="12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42103-98E8-4D82-B9E7-3F0B70559D8B}" type="datetime1">
              <a:rPr lang="en-US" smtClean="0"/>
              <a:pPr/>
              <a:t>3/25/2026</a:t>
            </a:fld>
            <a:endParaRPr lang="en-US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09659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609600" y="345141"/>
            <a:ext cx="10972800" cy="1436423"/>
          </a:xfrm>
          <a:prstGeom prst="rect">
            <a:avLst/>
          </a:prstGeom>
        </p:spPr>
        <p:txBody>
          <a:bodyPr vert="horz" lIns="118894" tIns="59446" rIns="118894" bIns="59446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09600" y="2010994"/>
            <a:ext cx="10972800" cy="5687837"/>
          </a:xfrm>
          <a:prstGeom prst="rect">
            <a:avLst/>
          </a:prstGeom>
        </p:spPr>
        <p:txBody>
          <a:bodyPr vert="horz" lIns="118894" tIns="59446" rIns="118894" bIns="59446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609600" y="7988110"/>
            <a:ext cx="2844800" cy="458857"/>
          </a:xfrm>
          <a:prstGeom prst="rect">
            <a:avLst/>
          </a:prstGeom>
        </p:spPr>
        <p:txBody>
          <a:bodyPr vert="horz" lIns="118894" tIns="59446" rIns="118894" bIns="59446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0760F8-1902-47B6-994B-DBEAD7D1C543}" type="datetime1">
              <a:rPr lang="en-US" smtClean="0"/>
              <a:pPr/>
              <a:t>3/25/2026</a:t>
            </a:fld>
            <a:endParaRPr lang="en-US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165600" y="7988110"/>
            <a:ext cx="3860800" cy="458857"/>
          </a:xfrm>
          <a:prstGeom prst="rect">
            <a:avLst/>
          </a:prstGeom>
        </p:spPr>
        <p:txBody>
          <a:bodyPr vert="horz" lIns="118894" tIns="59446" rIns="118894" bIns="59446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737600" y="7988110"/>
            <a:ext cx="2844800" cy="458857"/>
          </a:xfrm>
          <a:prstGeom prst="rect">
            <a:avLst/>
          </a:prstGeom>
        </p:spPr>
        <p:txBody>
          <a:bodyPr vert="horz" lIns="118894" tIns="59446" rIns="118894" bIns="594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AFE06B-84BC-9F45-85D7-AD45A3C26E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827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</p:sldLayoutIdLst>
  <p:hf hdr="0" ftr="0" dt="0"/>
  <p:txStyles>
    <p:titleStyle>
      <a:lvl1pPr algn="ctr" defTabSz="1188940" rtl="0" eaLnBrk="1" latinLnBrk="0" hangingPunct="1">
        <a:spcBef>
          <a:spcPct val="0"/>
        </a:spcBef>
        <a:buNone/>
        <a:defRPr sz="5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45853" indent="-445853" algn="l" defTabSz="118894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966014" indent="-371544" algn="l" defTabSz="1188940" rtl="0" eaLnBrk="1" latinLnBrk="0" hangingPunct="1">
        <a:spcBef>
          <a:spcPct val="20000"/>
        </a:spcBef>
        <a:buFont typeface="Arial" panose="020B0604020202020204" pitchFamily="34" charset="0"/>
        <a:buChar char="–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486175" indent="-297235" algn="l" defTabSz="1188940" rtl="0" eaLnBrk="1" latinLnBrk="0" hangingPunct="1">
        <a:spcBef>
          <a:spcPct val="20000"/>
        </a:spcBef>
        <a:buFont typeface="Arial" panose="020B0604020202020204" pitchFamily="34" charset="0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3pPr>
      <a:lvl4pPr marL="2080645" indent="-297235" algn="l" defTabSz="118894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75115" indent="-297235" algn="l" defTabSz="1188940" rtl="0" eaLnBrk="1" latinLnBrk="0" hangingPunct="1">
        <a:spcBef>
          <a:spcPct val="20000"/>
        </a:spcBef>
        <a:buFont typeface="Arial" panose="020B0604020202020204" pitchFamily="34" charset="0"/>
        <a:buChar char="»"/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69585" indent="-297235" algn="l" defTabSz="11889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4055" indent="-297235" algn="l" defTabSz="11889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8525" indent="-297235" algn="l" defTabSz="11889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995" indent="-297235" algn="l" defTabSz="11889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18894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94470" algn="l" defTabSz="118894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940" algn="l" defTabSz="118894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410" algn="l" defTabSz="118894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880" algn="l" defTabSz="118894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72350" algn="l" defTabSz="118894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820" algn="l" defTabSz="118894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161290" algn="l" defTabSz="118894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760" algn="l" defTabSz="118894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5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3A7CA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856537"/>
            <a:ext cx="10363200" cy="1751812"/>
          </a:xfrm>
        </p:spPr>
        <p:txBody>
          <a:bodyPr>
            <a:normAutofit/>
          </a:bodyPr>
          <a:lstStyle/>
          <a:p>
            <a:r>
              <a:rPr lang="cs-CZ" sz="4400" dirty="0"/>
              <a:t>JEDNÁNÍ ANALYTICKÉ KOMISE DOHODOVACÍHO ŘÍZENÍ</a:t>
            </a:r>
            <a:endParaRPr lang="en-US" sz="4400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066800" y="5563388"/>
            <a:ext cx="3219450" cy="1751812"/>
          </a:xfrm>
          <a:prstGeom prst="rect">
            <a:avLst/>
          </a:prstGeom>
        </p:spPr>
        <p:txBody>
          <a:bodyPr vert="horz" lIns="118894" tIns="59446" rIns="118894" bIns="59446" rtlCol="0" anchor="b">
            <a:normAutofit/>
          </a:bodyPr>
          <a:lstStyle>
            <a:lvl1pPr algn="l" defTabSz="1188940" rtl="0" eaLnBrk="1" latinLnBrk="0" hangingPunct="1">
              <a:spcBef>
                <a:spcPct val="0"/>
              </a:spcBef>
              <a:buNone/>
              <a:defRPr sz="32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dirty="0"/>
              <a:t>24. 3. 2026</a:t>
            </a:r>
            <a:endParaRPr 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6991350" y="5583226"/>
            <a:ext cx="4286250" cy="1751812"/>
          </a:xfrm>
          <a:prstGeom prst="rect">
            <a:avLst/>
          </a:prstGeom>
        </p:spPr>
        <p:txBody>
          <a:bodyPr vert="horz" lIns="118894" tIns="59446" rIns="118894" bIns="59446" rtlCol="0" anchor="b">
            <a:normAutofit/>
          </a:bodyPr>
          <a:lstStyle>
            <a:lvl1pPr algn="l" defTabSz="1188940" rtl="0" eaLnBrk="1" latinLnBrk="0" hangingPunct="1">
              <a:spcBef>
                <a:spcPct val="0"/>
              </a:spcBef>
              <a:buNone/>
              <a:defRPr sz="32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dirty="0"/>
              <a:t>Ing. Jiří Mrázek, </a:t>
            </a:r>
            <a:r>
              <a:rPr lang="cs-CZ" dirty="0" err="1"/>
              <a:t>mb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18794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B6F6DC1-9B31-BE4F-FD11-34B89D4E4D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8BF8C45-446A-B300-E72B-04B27DF3C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423" y="1106152"/>
            <a:ext cx="11563295" cy="634733"/>
          </a:xfrm>
        </p:spPr>
        <p:txBody>
          <a:bodyPr>
            <a:noAutofit/>
          </a:bodyPr>
          <a:lstStyle/>
          <a:p>
            <a:r>
              <a:rPr lang="cs-CZ" sz="2800" b="1" dirty="0">
                <a:solidFill>
                  <a:srgbClr val="002060"/>
                </a:solidFill>
                <a:latin typeface="+mn-lt"/>
              </a:rPr>
              <a:t>Demografické a kapacitní predikce: potřebné navýšení počtu lůžek dlouhodobé ošetřovatelské péče pro </a:t>
            </a:r>
            <a:r>
              <a:rPr lang="cs-CZ" sz="2800" b="1" u="sng" dirty="0">
                <a:solidFill>
                  <a:srgbClr val="002060"/>
                </a:solidFill>
                <a:latin typeface="+mn-lt"/>
              </a:rPr>
              <a:t>období 2035 - 2040</a:t>
            </a:r>
            <a:endParaRPr lang="cs-CZ" sz="28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0A39342B-1C5E-CA85-24CF-C13C3F03342E}"/>
              </a:ext>
            </a:extLst>
          </p:cNvPr>
          <p:cNvSpPr txBox="1"/>
          <p:nvPr/>
        </p:nvSpPr>
        <p:spPr>
          <a:xfrm>
            <a:off x="244689" y="1831187"/>
            <a:ext cx="88609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/>
              </a:rPr>
              <a:t>Zdroj: model Predikce potřeb lůžek a kapacit dlouhodobé péče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86ED870-086C-BF25-9020-3CC6B21F606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18851" y="2419620"/>
          <a:ext cx="5046471" cy="4707498"/>
        </p:xfrm>
        <a:graphic>
          <a:graphicData uri="http://schemas.openxmlformats.org/drawingml/2006/table">
            <a:tbl>
              <a:tblPr firstRow="1" lastRow="1">
                <a:tableStyleId>{9D7B26C5-4107-4FEC-AEDC-1716B250A1EF}</a:tableStyleId>
              </a:tblPr>
              <a:tblGrid>
                <a:gridCol w="1690577">
                  <a:extLst>
                    <a:ext uri="{9D8B030D-6E8A-4147-A177-3AD203B41FA5}">
                      <a16:colId xmlns:a16="http://schemas.microsoft.com/office/drawing/2014/main" val="1142716826"/>
                    </a:ext>
                  </a:extLst>
                </a:gridCol>
                <a:gridCol w="595423">
                  <a:extLst>
                    <a:ext uri="{9D8B030D-6E8A-4147-A177-3AD203B41FA5}">
                      <a16:colId xmlns:a16="http://schemas.microsoft.com/office/drawing/2014/main" val="3007883156"/>
                    </a:ext>
                  </a:extLst>
                </a:gridCol>
                <a:gridCol w="606056">
                  <a:extLst>
                    <a:ext uri="{9D8B030D-6E8A-4147-A177-3AD203B41FA5}">
                      <a16:colId xmlns:a16="http://schemas.microsoft.com/office/drawing/2014/main" val="54836868"/>
                    </a:ext>
                  </a:extLst>
                </a:gridCol>
                <a:gridCol w="595424">
                  <a:extLst>
                    <a:ext uri="{9D8B030D-6E8A-4147-A177-3AD203B41FA5}">
                      <a16:colId xmlns:a16="http://schemas.microsoft.com/office/drawing/2014/main" val="3992914724"/>
                    </a:ext>
                  </a:extLst>
                </a:gridCol>
                <a:gridCol w="754911">
                  <a:extLst>
                    <a:ext uri="{9D8B030D-6E8A-4147-A177-3AD203B41FA5}">
                      <a16:colId xmlns:a16="http://schemas.microsoft.com/office/drawing/2014/main" val="3853072879"/>
                    </a:ext>
                  </a:extLst>
                </a:gridCol>
                <a:gridCol w="804080">
                  <a:extLst>
                    <a:ext uri="{9D8B030D-6E8A-4147-A177-3AD203B41FA5}">
                      <a16:colId xmlns:a16="http://schemas.microsoft.com/office/drawing/2014/main" val="3714164963"/>
                    </a:ext>
                  </a:extLst>
                </a:gridCol>
              </a:tblGrid>
              <a:tr h="432000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třebné navýšení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mografické projekce 2035-40 (75+)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cs-CZ" sz="1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cs-CZ" sz="1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cs-CZ" sz="1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7441694"/>
                  </a:ext>
                </a:extLst>
              </a:tr>
              <a:tr h="432000">
                <a:tc vMerge="1">
                  <a:txBody>
                    <a:bodyPr/>
                    <a:lstStyle/>
                    <a:p>
                      <a:pPr algn="l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u="none" strike="noStrike" dirty="0">
                          <a:effectLst/>
                        </a:rPr>
                        <a:t>9_9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u="none" strike="noStrike" dirty="0">
                          <a:effectLst/>
                        </a:rPr>
                        <a:t>9U9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9U7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u="none" strike="noStrike" dirty="0">
                          <a:effectLst/>
                        </a:rPr>
                        <a:t>7D8,7U8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3815415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Hlavní město Prah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5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19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4341625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tředočes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5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3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334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4006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Jihočes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89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1531384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Plzeňský kraj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14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442335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Karlovars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7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2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37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454750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Ústec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82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5285235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Liberec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95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2667437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Královéhradec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2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54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1600554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Pardubic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7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38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5561028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Kraj Vysočin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34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537666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Jihomoravs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5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2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51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4738553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Olomouc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8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09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9610337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Zlíns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7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75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0622147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oravskoslezs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5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94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85928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CELKEM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42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0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2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628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5305399"/>
                  </a:ext>
                </a:extLst>
              </a:tr>
            </a:tbl>
          </a:graphicData>
        </a:graphic>
      </p:graphicFrame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ED4F774-973E-E1B4-57CC-EB5581B79CD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879557" y="2467390"/>
          <a:ext cx="3355894" cy="4707498"/>
        </p:xfrm>
        <a:graphic>
          <a:graphicData uri="http://schemas.openxmlformats.org/drawingml/2006/table">
            <a:tbl>
              <a:tblPr firstRow="1" lastRow="1">
                <a:tableStyleId>{9D7B26C5-4107-4FEC-AEDC-1716B250A1EF}</a:tableStyleId>
              </a:tblPr>
              <a:tblGrid>
                <a:gridCol w="595423">
                  <a:extLst>
                    <a:ext uri="{9D8B030D-6E8A-4147-A177-3AD203B41FA5}">
                      <a16:colId xmlns:a16="http://schemas.microsoft.com/office/drawing/2014/main" val="3983118699"/>
                    </a:ext>
                  </a:extLst>
                </a:gridCol>
                <a:gridCol w="606056">
                  <a:extLst>
                    <a:ext uri="{9D8B030D-6E8A-4147-A177-3AD203B41FA5}">
                      <a16:colId xmlns:a16="http://schemas.microsoft.com/office/drawing/2014/main" val="2338339541"/>
                    </a:ext>
                  </a:extLst>
                </a:gridCol>
                <a:gridCol w="595424">
                  <a:extLst>
                    <a:ext uri="{9D8B030D-6E8A-4147-A177-3AD203B41FA5}">
                      <a16:colId xmlns:a16="http://schemas.microsoft.com/office/drawing/2014/main" val="935839854"/>
                    </a:ext>
                  </a:extLst>
                </a:gridCol>
                <a:gridCol w="754911">
                  <a:extLst>
                    <a:ext uri="{9D8B030D-6E8A-4147-A177-3AD203B41FA5}">
                      <a16:colId xmlns:a16="http://schemas.microsoft.com/office/drawing/2014/main" val="2317937948"/>
                    </a:ext>
                  </a:extLst>
                </a:gridCol>
                <a:gridCol w="804080">
                  <a:extLst>
                    <a:ext uri="{9D8B030D-6E8A-4147-A177-3AD203B41FA5}">
                      <a16:colId xmlns:a16="http://schemas.microsoft.com/office/drawing/2014/main" val="1082762138"/>
                    </a:ext>
                  </a:extLst>
                </a:gridCol>
              </a:tblGrid>
              <a:tr h="432000"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třebné navýšení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Kapacitní modely predikce </a:t>
                      </a:r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35-40 </a:t>
                      </a:r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cs-CZ" sz="1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cs-CZ" sz="1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cs-CZ" sz="1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0110953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u="none" strike="noStrike" dirty="0">
                          <a:effectLst/>
                        </a:rPr>
                        <a:t>9_9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u="none" strike="noStrike" dirty="0">
                          <a:effectLst/>
                        </a:rPr>
                        <a:t>9U9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9U7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u="none" strike="noStrike" dirty="0">
                          <a:effectLst/>
                        </a:rPr>
                        <a:t>7D8,7U8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7824962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47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17111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66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632575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 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27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5995559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23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335621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9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4282515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65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6082508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7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1702854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6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85827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72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080623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28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0182970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 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56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3792573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66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5376280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16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728708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22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898818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 878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1083023"/>
                  </a:ext>
                </a:extLst>
              </a:tr>
            </a:tbl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08E3918F-D588-FDF2-4F36-F7125F767BEA}"/>
              </a:ext>
            </a:extLst>
          </p:cNvPr>
          <p:cNvSpPr txBox="1"/>
          <p:nvPr/>
        </p:nvSpPr>
        <p:spPr>
          <a:xfrm>
            <a:off x="4642090" y="4430691"/>
            <a:ext cx="186069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sz="6000" b="1" dirty="0">
                <a:solidFill>
                  <a:prstClr val="black"/>
                </a:solidFill>
                <a:latin typeface="Calibri" panose="020F0502020204030204"/>
              </a:rPr>
              <a:t>+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6ACBB882-EB1B-4442-8EB5-B02D0BEFC64F}"/>
              </a:ext>
            </a:extLst>
          </p:cNvPr>
          <p:cNvSpPr txBox="1"/>
          <p:nvPr/>
        </p:nvSpPr>
        <p:spPr>
          <a:xfrm>
            <a:off x="8533680" y="4425629"/>
            <a:ext cx="186069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sz="6000" b="1" dirty="0">
                <a:solidFill>
                  <a:prstClr val="black"/>
                </a:solidFill>
                <a:latin typeface="Calibri" panose="020F0502020204030204"/>
              </a:rPr>
              <a:t>=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1D39D5FE-8811-468E-F90F-69E05C276435}"/>
              </a:ext>
            </a:extLst>
          </p:cNvPr>
          <p:cNvSpPr txBox="1"/>
          <p:nvPr/>
        </p:nvSpPr>
        <p:spPr>
          <a:xfrm>
            <a:off x="9745634" y="3963963"/>
            <a:ext cx="2360789" cy="193899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2400" b="1" dirty="0">
                <a:solidFill>
                  <a:prstClr val="white"/>
                </a:solidFill>
                <a:latin typeface="Calibri" panose="020F0502020204030204"/>
              </a:rPr>
              <a:t>Celkové potřebné navýšení minimálně </a:t>
            </a:r>
          </a:p>
          <a:p>
            <a:pPr>
              <a:defRPr/>
            </a:pPr>
            <a:r>
              <a:rPr lang="cs-CZ" sz="2400" b="1" dirty="0">
                <a:solidFill>
                  <a:prstClr val="white"/>
                </a:solidFill>
                <a:latin typeface="Calibri" panose="020F0502020204030204"/>
              </a:rPr>
              <a:t>o + 9 500 lůžek </a:t>
            </a:r>
          </a:p>
        </p:txBody>
      </p:sp>
    </p:spTree>
    <p:extLst>
      <p:ext uri="{BB962C8B-B14F-4D97-AF65-F5344CB8AC3E}">
        <p14:creationId xmlns:p14="http://schemas.microsoft.com/office/powerpoint/2010/main" val="17999314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608397C-2AAC-D30F-EF1E-16798B5D73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0797882-A3A9-76F6-2F4E-F0349433D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987" y="3841750"/>
            <a:ext cx="11398526" cy="3178893"/>
          </a:xfrm>
        </p:spPr>
        <p:txBody>
          <a:bodyPr>
            <a:noAutofit/>
          </a:bodyPr>
          <a:lstStyle/>
          <a:p>
            <a:pPr algn="ctr"/>
            <a:r>
              <a:rPr lang="cs-CZ" sz="2800" b="1" dirty="0">
                <a:solidFill>
                  <a:srgbClr val="002060"/>
                </a:solidFill>
                <a:latin typeface="+mn-lt"/>
                <a:ea typeface="+mn-ea"/>
                <a:cs typeface="+mn-cs"/>
              </a:rPr>
              <a:t>Plně funkční systém CZ-DRG a data referenčních nemocnic umožňují modelaci reálných nákladů v akutní péči dle různých typů PZS. Oceňování reálných nákladů vychází z oficiální meziresortně schválené metodiky </a:t>
            </a:r>
            <a:br>
              <a:rPr lang="cs-CZ" sz="2800" b="1" dirty="0">
                <a:solidFill>
                  <a:srgbClr val="002060"/>
                </a:solidFill>
                <a:latin typeface="+mn-lt"/>
                <a:ea typeface="+mn-ea"/>
                <a:cs typeface="+mn-cs"/>
              </a:rPr>
            </a:br>
            <a:r>
              <a:rPr lang="cs-CZ" sz="2800" b="1" dirty="0">
                <a:solidFill>
                  <a:srgbClr val="002060"/>
                </a:solidFill>
                <a:latin typeface="+mn-lt"/>
                <a:ea typeface="+mn-ea"/>
                <a:cs typeface="+mn-cs"/>
              </a:rPr>
              <a:t>a zahrnuje všechny typy relevantních nákladů, přímých i nepřímých. </a:t>
            </a:r>
            <a:br>
              <a:rPr lang="cs-CZ" sz="3400" b="1" dirty="0">
                <a:solidFill>
                  <a:srgbClr val="002060"/>
                </a:solidFill>
                <a:latin typeface="+mn-lt"/>
                <a:ea typeface="+mn-ea"/>
                <a:cs typeface="+mn-cs"/>
              </a:rPr>
            </a:br>
            <a:br>
              <a:rPr lang="cs-CZ" sz="3400" b="1" dirty="0">
                <a:solidFill>
                  <a:srgbClr val="002060"/>
                </a:solidFill>
                <a:latin typeface="+mn-lt"/>
                <a:ea typeface="+mn-ea"/>
                <a:cs typeface="+mn-cs"/>
              </a:rPr>
            </a:br>
            <a:r>
              <a:rPr lang="cs-CZ" sz="3400" b="1" dirty="0">
                <a:solidFill>
                  <a:srgbClr val="002060"/>
                </a:solidFill>
                <a:latin typeface="+mn-lt"/>
                <a:ea typeface="+mn-ea"/>
                <a:cs typeface="+mn-cs"/>
              </a:rPr>
              <a:t>Prediktivní modelace jsou následně ověřitelné sběrem reálných dat.   </a:t>
            </a:r>
          </a:p>
        </p:txBody>
      </p:sp>
      <p:sp>
        <p:nvSpPr>
          <p:cNvPr id="5" name="Šipka: dolů 4">
            <a:extLst>
              <a:ext uri="{FF2B5EF4-FFF2-40B4-BE49-F238E27FC236}">
                <a16:creationId xmlns:a16="http://schemas.microsoft.com/office/drawing/2014/main" id="{30EFBE5A-3E9E-6A16-1A2D-0BA565F5136D}"/>
              </a:ext>
            </a:extLst>
          </p:cNvPr>
          <p:cNvSpPr/>
          <p:nvPr/>
        </p:nvSpPr>
        <p:spPr>
          <a:xfrm>
            <a:off x="5457825" y="6944673"/>
            <a:ext cx="1276350" cy="723900"/>
          </a:xfrm>
          <a:prstGeom prst="downArrow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7FF4CD3B-3844-B038-9534-A2FA2544FE00}"/>
              </a:ext>
            </a:extLst>
          </p:cNvPr>
          <p:cNvSpPr txBox="1"/>
          <p:nvPr/>
        </p:nvSpPr>
        <p:spPr>
          <a:xfrm>
            <a:off x="115926" y="861881"/>
            <a:ext cx="81187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b="1" dirty="0">
                <a:solidFill>
                  <a:srgbClr val="002060"/>
                </a:solidFill>
              </a:rPr>
              <a:t>Vybraná fakta z nově otevřených dat o ekonomice, vývoji nákladů a výnosů PALP</a:t>
            </a:r>
            <a:endParaRPr lang="en-US" sz="3600" b="1" dirty="0">
              <a:solidFill>
                <a:srgbClr val="002060"/>
              </a:solidFill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73011D80-2331-ECF4-6B07-A8580BB1C2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0866" y="2227927"/>
            <a:ext cx="1550268" cy="1200329"/>
          </a:xfrm>
          <a:prstGeom prst="rect">
            <a:avLst/>
          </a:prstGeom>
        </p:spPr>
      </p:pic>
      <p:sp>
        <p:nvSpPr>
          <p:cNvPr id="7" name="TextovéPole 6">
            <a:extLst>
              <a:ext uri="{FF2B5EF4-FFF2-40B4-BE49-F238E27FC236}">
                <a16:creationId xmlns:a16="http://schemas.microsoft.com/office/drawing/2014/main" id="{E4F84B8A-0D74-45EF-5A23-53AF415F92AE}"/>
              </a:ext>
            </a:extLst>
          </p:cNvPr>
          <p:cNvSpPr txBox="1"/>
          <p:nvPr/>
        </p:nvSpPr>
        <p:spPr>
          <a:xfrm>
            <a:off x="217996" y="2461504"/>
            <a:ext cx="4663354" cy="400110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prstClr val="white"/>
                </a:solidFill>
                <a:latin typeface="Calibri" panose="020F0502020204030204"/>
              </a:rPr>
              <a:t>https://www.nzip.cz/dohodovaci-rizeni</a:t>
            </a:r>
          </a:p>
        </p:txBody>
      </p:sp>
      <p:pic>
        <p:nvPicPr>
          <p:cNvPr id="8" name="Obrázek 7" descr="Obsah obrázku text, elektronika, snímek obrazovky, software&#10;&#10;Obsah generovaný pomocí AI může být nesprávný.">
            <a:extLst>
              <a:ext uri="{FF2B5EF4-FFF2-40B4-BE49-F238E27FC236}">
                <a16:creationId xmlns:a16="http://schemas.microsoft.com/office/drawing/2014/main" id="{58FA34B3-A01B-8099-61D7-FC698D2701A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8835" t="35786" r="20495" b="23936"/>
          <a:stretch>
            <a:fillRect/>
          </a:stretch>
        </p:blipFill>
        <p:spPr>
          <a:xfrm>
            <a:off x="8234704" y="1094578"/>
            <a:ext cx="3739300" cy="2762250"/>
          </a:xfrm>
          <a:prstGeom prst="rect">
            <a:avLst/>
          </a:prstGeom>
        </p:spPr>
      </p:pic>
      <p:sp>
        <p:nvSpPr>
          <p:cNvPr id="9" name="Šipka: doprava 8">
            <a:extLst>
              <a:ext uri="{FF2B5EF4-FFF2-40B4-BE49-F238E27FC236}">
                <a16:creationId xmlns:a16="http://schemas.microsoft.com/office/drawing/2014/main" id="{AC459E9E-C85A-073E-3F76-B510D1C2981D}"/>
              </a:ext>
            </a:extLst>
          </p:cNvPr>
          <p:cNvSpPr/>
          <p:nvPr/>
        </p:nvSpPr>
        <p:spPr>
          <a:xfrm>
            <a:off x="7122490" y="2316285"/>
            <a:ext cx="1028700" cy="690551"/>
          </a:xfrm>
          <a:prstGeom prst="rightArrow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41579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076400" y="2152950"/>
            <a:ext cx="10277295" cy="1523700"/>
          </a:xfrm>
          <a:prstGeom prst="rect">
            <a:avLst/>
          </a:prstGeom>
          <a:solidFill>
            <a:srgbClr val="3A7CA5"/>
          </a:solidFill>
        </p:spPr>
        <p:txBody>
          <a:bodyPr vert="horz" lIns="118894" tIns="59446" rIns="118894" bIns="59446" rtlCol="0" anchor="t">
            <a:normAutofit/>
          </a:bodyPr>
          <a:lstStyle>
            <a:lvl1pPr algn="ctr" defTabSz="1188940" rtl="0" eaLnBrk="1" latinLnBrk="0" hangingPunct="1">
              <a:spcBef>
                <a:spcPct val="0"/>
              </a:spcBef>
              <a:buNone/>
              <a:defRPr sz="28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4400" dirty="0">
                <a:solidFill>
                  <a:schemeClr val="bg1"/>
                </a:solidFill>
              </a:rPr>
              <a:t>Vyhodnocení finančních ukazatelů za roky 2020 až 2025</a:t>
            </a:r>
            <a:endParaRPr lang="en-US" sz="4400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8326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1003301"/>
          </a:xfrm>
          <a:solidFill>
            <a:srgbClr val="3A7CA5"/>
          </a:solidFill>
        </p:spPr>
        <p:txBody>
          <a:bodyPr>
            <a:normAutofit fontScale="90000"/>
          </a:bodyPr>
          <a:lstStyle/>
          <a:p>
            <a:pPr algn="l"/>
            <a:r>
              <a:rPr lang="cs-CZ" sz="3200" dirty="0">
                <a:solidFill>
                  <a:schemeClr val="bg1"/>
                </a:solidFill>
              </a:rPr>
              <a:t>Náklady na zdravotní péči čerpané z oddílu A  základního fondu zdravotního pojištění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A20E4DF8-5EE8-4C5E-AF32-5BCAE1CD59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8512" y="2084035"/>
            <a:ext cx="10185288" cy="5706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326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736601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pt-BR" sz="3200" dirty="0">
                <a:solidFill>
                  <a:schemeClr val="bg1"/>
                </a:solidFill>
              </a:rPr>
              <a:t>Celkové náklady na ambulantní péči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D25425DE-A320-4A35-8F6E-F85835D851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375" y="2080988"/>
            <a:ext cx="10194797" cy="5719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1414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8"/>
            <a:ext cx="10194797" cy="738000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cs-CZ" sz="3200" dirty="0">
                <a:solidFill>
                  <a:schemeClr val="bg1"/>
                </a:solidFill>
              </a:rPr>
              <a:t>náklady na stomatologickou péči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9F717CA-5A76-4DCE-A1BD-93A13C092D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9003" y="2080987"/>
            <a:ext cx="10194797" cy="5719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4880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1003301"/>
          </a:xfrm>
          <a:solidFill>
            <a:srgbClr val="3A7CA5"/>
          </a:solidFill>
        </p:spPr>
        <p:txBody>
          <a:bodyPr>
            <a:normAutofit fontScale="90000"/>
          </a:bodyPr>
          <a:lstStyle/>
          <a:p>
            <a:pPr algn="l"/>
            <a:r>
              <a:rPr lang="cs-CZ" sz="3200" dirty="0">
                <a:solidFill>
                  <a:schemeClr val="bg1"/>
                </a:solidFill>
              </a:rPr>
              <a:t>náklady na péči praktických lékařů </a:t>
            </a:r>
            <a:br>
              <a:rPr lang="cs-CZ" sz="3200" dirty="0">
                <a:solidFill>
                  <a:schemeClr val="bg1"/>
                </a:solidFill>
              </a:rPr>
            </a:br>
            <a:r>
              <a:rPr lang="cs-CZ" sz="3200" dirty="0">
                <a:solidFill>
                  <a:schemeClr val="bg1"/>
                </a:solidFill>
              </a:rPr>
              <a:t>(odbornosti 001, 002)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16</a:t>
            </a:fld>
            <a:endParaRPr lang="en-US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4A4A415C-DAAC-47AE-851A-9CEA40F86C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8512" y="2084035"/>
            <a:ext cx="10185288" cy="5706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0543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1003301"/>
          </a:xfrm>
          <a:solidFill>
            <a:srgbClr val="3A7CA5"/>
          </a:solidFill>
        </p:spPr>
        <p:txBody>
          <a:bodyPr>
            <a:normAutofit fontScale="90000"/>
          </a:bodyPr>
          <a:lstStyle/>
          <a:p>
            <a:pPr algn="l"/>
            <a:r>
              <a:rPr lang="cs-CZ" sz="3100" dirty="0">
                <a:solidFill>
                  <a:schemeClr val="bg1"/>
                </a:solidFill>
              </a:rPr>
              <a:t>náklady na péči praktických lékařů (odbornosti 001, 002, </a:t>
            </a:r>
            <a:r>
              <a:rPr lang="pl-PL" sz="3100" dirty="0">
                <a:solidFill>
                  <a:schemeClr val="bg1"/>
                </a:solidFill>
              </a:rPr>
              <a:t>bez nákladů za Očkovací látky u </a:t>
            </a:r>
            <a:r>
              <a:rPr lang="pl-PL" sz="3200" dirty="0">
                <a:solidFill>
                  <a:schemeClr val="bg1"/>
                </a:solidFill>
              </a:rPr>
              <a:t>nepovinného očkování</a:t>
            </a:r>
            <a:r>
              <a:rPr lang="cs-CZ" sz="3200" dirty="0">
                <a:solidFill>
                  <a:schemeClr val="bg1"/>
                </a:solidFill>
              </a:rPr>
              <a:t>)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17</a:t>
            </a:fld>
            <a:endParaRPr lang="en-US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B0902FF-6F4B-40D0-A34B-D4A5AEB307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8607" y="2084035"/>
            <a:ext cx="10194797" cy="5711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3779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738000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cs-CZ" sz="3200" dirty="0">
                <a:solidFill>
                  <a:schemeClr val="bg1"/>
                </a:solidFill>
              </a:rPr>
              <a:t>náklady na gynekologickou péči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18</a:t>
            </a:fld>
            <a:endParaRPr lang="en-US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10933F93-4CE6-436B-9D94-FCF16AEE04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9003" y="2084034"/>
            <a:ext cx="10194797" cy="5711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6982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738000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cs-CZ" sz="3200" dirty="0">
                <a:solidFill>
                  <a:schemeClr val="bg1"/>
                </a:solidFill>
              </a:rPr>
              <a:t>náklady na rehabilitační péči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AC205CD5-9B56-44B2-8400-87DC015A80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9002" y="2084035"/>
            <a:ext cx="10194797" cy="5711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426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076400" y="2628900"/>
            <a:ext cx="10277295" cy="5467350"/>
          </a:xfrm>
        </p:spPr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cs-CZ" sz="2800" dirty="0">
                <a:solidFill>
                  <a:schemeClr val="tx1"/>
                </a:solidFill>
              </a:rPr>
              <a:t>Úvod, organizační záležitosti</a:t>
            </a:r>
          </a:p>
          <a:p>
            <a:pPr marL="342900" indent="-342900">
              <a:buFont typeface="+mj-lt"/>
              <a:buAutoNum type="arabicPeriod"/>
            </a:pPr>
            <a:endParaRPr lang="cs-CZ" sz="2800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cs-CZ" sz="2800" dirty="0">
                <a:solidFill>
                  <a:schemeClr val="tx1"/>
                </a:solidFill>
              </a:rPr>
              <a:t>Data NZIP a demografický vývoj</a:t>
            </a:r>
          </a:p>
          <a:p>
            <a:pPr marL="342900" indent="-342900">
              <a:buFont typeface="+mj-lt"/>
              <a:buAutoNum type="arabicPeriod"/>
            </a:pPr>
            <a:endParaRPr lang="cs-CZ" sz="2800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cs-CZ" sz="2800" dirty="0">
                <a:solidFill>
                  <a:schemeClr val="tx1"/>
                </a:solidFill>
              </a:rPr>
              <a:t>Vyhodnocení finančních ukazatelů za roky 2020 až 2025</a:t>
            </a:r>
          </a:p>
          <a:p>
            <a:pPr marL="342900" indent="-342900">
              <a:buFont typeface="+mj-lt"/>
              <a:buAutoNum type="arabicPeriod"/>
            </a:pPr>
            <a:endParaRPr lang="cs-CZ" sz="2800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cs-CZ" sz="2800" dirty="0">
                <a:solidFill>
                  <a:schemeClr val="tx1"/>
                </a:solidFill>
              </a:rPr>
              <a:t>Příjmy systému </a:t>
            </a:r>
            <a:r>
              <a:rPr lang="cs-CZ" sz="2800" dirty="0" err="1">
                <a:solidFill>
                  <a:schemeClr val="tx1"/>
                </a:solidFill>
              </a:rPr>
              <a:t>v.z.p</a:t>
            </a:r>
            <a:r>
              <a:rPr lang="cs-CZ" sz="2800" dirty="0">
                <a:solidFill>
                  <a:schemeClr val="tx1"/>
                </a:solidFill>
              </a:rPr>
              <a:t>. v letech 2020 až 2025 a odhad příjmů na roky 2026 až 2028</a:t>
            </a:r>
          </a:p>
          <a:p>
            <a:pPr marL="342900" indent="-342900">
              <a:buFont typeface="+mj-lt"/>
              <a:buAutoNum type="arabicPeriod"/>
            </a:pPr>
            <a:endParaRPr lang="cs-CZ" sz="2800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cs-CZ" sz="2800" dirty="0">
                <a:solidFill>
                  <a:schemeClr val="tx1"/>
                </a:solidFill>
              </a:rPr>
              <a:t>Diskuze nad Zprávou AK DŘ za rok 2025</a:t>
            </a:r>
          </a:p>
          <a:p>
            <a:pPr marL="342900" indent="-342900">
              <a:buFont typeface="+mj-lt"/>
              <a:buAutoNum type="arabicPeriod"/>
            </a:pPr>
            <a:endParaRPr lang="cs-CZ" sz="2800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cs-CZ" sz="2800" dirty="0">
                <a:solidFill>
                  <a:schemeClr val="tx1"/>
                </a:solidFill>
              </a:rPr>
              <a:t>Různé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076400" y="1105200"/>
            <a:ext cx="10277295" cy="660401"/>
          </a:xfrm>
          <a:prstGeom prst="rect">
            <a:avLst/>
          </a:prstGeom>
          <a:solidFill>
            <a:srgbClr val="3A7CA5"/>
          </a:solidFill>
        </p:spPr>
        <p:txBody>
          <a:bodyPr vert="horz" lIns="118894" tIns="59446" rIns="118894" bIns="59446" rtlCol="0" anchor="t">
            <a:normAutofit/>
          </a:bodyPr>
          <a:lstStyle>
            <a:lvl1pPr algn="ctr" defTabSz="1188940" rtl="0" eaLnBrk="1" latinLnBrk="0" hangingPunct="1">
              <a:spcBef>
                <a:spcPct val="0"/>
              </a:spcBef>
              <a:buNone/>
              <a:defRPr sz="28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cs-CZ" sz="3200" dirty="0">
                <a:solidFill>
                  <a:schemeClr val="bg1"/>
                </a:solidFill>
              </a:rPr>
              <a:t>Program jednání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8" name="Zástupný symbol pro číslo snímku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8878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738000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cs-CZ" sz="3200" dirty="0">
                <a:solidFill>
                  <a:schemeClr val="bg1"/>
                </a:solidFill>
              </a:rPr>
              <a:t>náklady na Diagnostickou péči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5D6685B7-1045-44E6-B19E-DA53793C0F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9003" y="2084035"/>
            <a:ext cx="10194797" cy="5711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7841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738000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cs-CZ" sz="3200" dirty="0">
                <a:solidFill>
                  <a:schemeClr val="bg1"/>
                </a:solidFill>
              </a:rPr>
              <a:t>Náklady na laboratoře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>
          <a:xfrm>
            <a:off x="8737200" y="7989103"/>
            <a:ext cx="2844800" cy="458857"/>
          </a:xfrm>
        </p:spPr>
        <p:txBody>
          <a:bodyPr/>
          <a:lstStyle/>
          <a:p>
            <a:fld id="{7CAFE06B-84BC-9F45-85D7-AD45A3C26E5A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88C21754-F90A-4DF2-96D9-9AFB8E0A99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9003" y="2084034"/>
            <a:ext cx="10194797" cy="5711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6462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738000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pl-PL" sz="3200" dirty="0">
                <a:solidFill>
                  <a:schemeClr val="bg1"/>
                </a:solidFill>
              </a:rPr>
              <a:t>Náklady na radiologii a zobrazovací metody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22</a:t>
            </a:fld>
            <a:endParaRPr lang="en-US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A6E2A31A-B71E-46D6-B64E-655EE9A4B1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9003" y="2080987"/>
            <a:ext cx="10194797" cy="5719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1499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1003301"/>
          </a:xfrm>
          <a:solidFill>
            <a:srgbClr val="3A7CA5"/>
          </a:solidFill>
        </p:spPr>
        <p:txBody>
          <a:bodyPr>
            <a:normAutofit fontScale="90000"/>
          </a:bodyPr>
          <a:lstStyle/>
          <a:p>
            <a:pPr algn="l"/>
            <a:r>
              <a:rPr lang="cs-CZ" sz="3200" dirty="0">
                <a:solidFill>
                  <a:schemeClr val="bg1"/>
                </a:solidFill>
              </a:rPr>
              <a:t>Náklady na domácí zdravotní péči (odbornosti 911, 914, 916, 921 a 925-926)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23</a:t>
            </a:fld>
            <a:endParaRPr lang="en-US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59798EC0-CB28-43E4-A461-48F036064A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375" y="2080988"/>
            <a:ext cx="10194797" cy="5719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7328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738000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pt-BR" sz="3200" dirty="0">
                <a:solidFill>
                  <a:schemeClr val="bg1"/>
                </a:solidFill>
              </a:rPr>
              <a:t>Náklady na specializovanou ambulantní péči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24</a:t>
            </a:fld>
            <a:endParaRPr lang="en-US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99128A56-0EFC-4CE8-B40C-85AE849715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375" y="2080988"/>
            <a:ext cx="10194797" cy="5719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3805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1003301"/>
          </a:xfrm>
          <a:solidFill>
            <a:srgbClr val="3A7CA5"/>
          </a:solidFill>
        </p:spPr>
        <p:txBody>
          <a:bodyPr>
            <a:normAutofit fontScale="90000"/>
          </a:bodyPr>
          <a:lstStyle/>
          <a:p>
            <a:pPr algn="l"/>
            <a:r>
              <a:rPr lang="cs-CZ" sz="3200" dirty="0">
                <a:solidFill>
                  <a:schemeClr val="bg1"/>
                </a:solidFill>
              </a:rPr>
              <a:t>Náklady na specializovanou ambulantní péči (bez cl a </a:t>
            </a:r>
            <a:r>
              <a:rPr lang="cs-CZ" sz="3200" dirty="0" err="1">
                <a:solidFill>
                  <a:schemeClr val="bg1"/>
                </a:solidFill>
              </a:rPr>
              <a:t>odb</a:t>
            </a:r>
            <a:r>
              <a:rPr lang="cs-CZ" sz="3200" dirty="0">
                <a:solidFill>
                  <a:schemeClr val="bg1"/>
                </a:solidFill>
              </a:rPr>
              <a:t>. 901, 903, 403)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25</a:t>
            </a:fld>
            <a:endParaRPr lang="en-US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3336A4A9-C188-42B5-82B7-8583017C1A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9002" y="2084035"/>
            <a:ext cx="10194797" cy="5711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7749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1003301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cs-CZ" sz="3200" dirty="0">
                <a:solidFill>
                  <a:schemeClr val="bg1"/>
                </a:solidFill>
              </a:rPr>
              <a:t>Náklady na ambulantní hemodialyzační péči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26</a:t>
            </a:fld>
            <a:endParaRPr lang="en-US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2DA710DD-CBD4-44A2-9E25-982D05C6F7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375" y="2080988"/>
            <a:ext cx="10194797" cy="5719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1891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738000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pl-PL" sz="3200" dirty="0">
                <a:solidFill>
                  <a:schemeClr val="bg1"/>
                </a:solidFill>
              </a:rPr>
              <a:t>Náklady na ústavní péči celkem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27</a:t>
            </a:fld>
            <a:endParaRPr lang="en-US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BCA839AD-AC5B-4AC3-BF52-9C43D5A4C3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375" y="2080988"/>
            <a:ext cx="10194797" cy="5719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02270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738000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pl-PL" sz="3200" dirty="0">
                <a:solidFill>
                  <a:schemeClr val="bg1"/>
                </a:solidFill>
              </a:rPr>
              <a:t>Náklady v nemocnicích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28</a:t>
            </a:fld>
            <a:endParaRPr lang="en-US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D159E509-2085-4E83-B1FD-E279F690C0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375" y="2080988"/>
            <a:ext cx="10194797" cy="5719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759490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738000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pt-BR" sz="3200" dirty="0">
                <a:solidFill>
                  <a:schemeClr val="bg1"/>
                </a:solidFill>
              </a:rPr>
              <a:t>Náklady na centrová léčiva v nemocnicích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29</a:t>
            </a:fld>
            <a:endParaRPr lang="en-US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2DF2DB00-C2C8-47E5-8F14-8627C5F111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375" y="2080988"/>
            <a:ext cx="10194797" cy="5719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34560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6400" y="1105200"/>
            <a:ext cx="10277295" cy="660401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cs-CZ" sz="3200" dirty="0">
                <a:solidFill>
                  <a:schemeClr val="bg1"/>
                </a:solidFill>
              </a:rPr>
              <a:t>Členové AK DŘ – zdravotní pojišťovny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564F0C49-3CD4-4EC8-B45C-C79D18C133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1833" y="3337718"/>
            <a:ext cx="10271862" cy="2959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43992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738000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pl-PL" sz="3200" dirty="0">
                <a:solidFill>
                  <a:schemeClr val="bg1"/>
                </a:solidFill>
              </a:rPr>
              <a:t>Náklady v nemocnicích (bez centrových léčiv)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30</a:t>
            </a:fld>
            <a:endParaRPr lang="en-US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B452204B-23DB-4611-BE2D-FF697C39A2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375" y="2080988"/>
            <a:ext cx="10194797" cy="5719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65625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738000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pl-PL" sz="3200" dirty="0">
                <a:solidFill>
                  <a:schemeClr val="bg1"/>
                </a:solidFill>
              </a:rPr>
              <a:t>Náklady v následné a dlouhodobé péči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31</a:t>
            </a:fld>
            <a:endParaRPr lang="en-US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4F788F75-B4E5-4BD5-8536-03EFACAE0F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375" y="2080988"/>
            <a:ext cx="10194797" cy="5719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81326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738000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pl-PL" sz="3200" dirty="0">
                <a:solidFill>
                  <a:schemeClr val="bg1"/>
                </a:solidFill>
              </a:rPr>
              <a:t>Náklady v OLÚ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32</a:t>
            </a:fld>
            <a:endParaRPr lang="en-US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23067870-3E9F-4E25-9908-1E678955EF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9003" y="2084034"/>
            <a:ext cx="10194797" cy="5711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15928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738000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pl-PL" sz="3200" dirty="0">
                <a:solidFill>
                  <a:schemeClr val="bg1"/>
                </a:solidFill>
              </a:rPr>
              <a:t>Náklady v LDN, OL, NIP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33</a:t>
            </a:fld>
            <a:endParaRPr lang="en-US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B66A4F6B-5E0F-4081-8076-88D1EA0554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9003" y="2084035"/>
            <a:ext cx="10194797" cy="5711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50797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738000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pl-PL" sz="3200" dirty="0">
                <a:solidFill>
                  <a:schemeClr val="bg1"/>
                </a:solidFill>
              </a:rPr>
              <a:t>Náklady na lázeňskou péči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34</a:t>
            </a:fld>
            <a:endParaRPr lang="en-US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13F23067-14A8-49F6-9322-5B15EAC493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9003" y="2084035"/>
            <a:ext cx="10194797" cy="5711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29169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738000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pl-PL" sz="3200" dirty="0">
                <a:solidFill>
                  <a:schemeClr val="bg1"/>
                </a:solidFill>
              </a:rPr>
              <a:t>Náklady na dopravu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35</a:t>
            </a:fld>
            <a:endParaRPr lang="en-US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66016C28-24DF-4786-962F-7FD9B84B41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9004" y="2080986"/>
            <a:ext cx="10194796" cy="5719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41862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738000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pl-PL" sz="3200" dirty="0">
                <a:solidFill>
                  <a:schemeClr val="bg1"/>
                </a:solidFill>
              </a:rPr>
              <a:t>Náklady na zdravotnickou záchrannou službu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36</a:t>
            </a:fld>
            <a:endParaRPr lang="en-US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C8B549EE-DBF8-4EA9-9461-76D3F9A144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9003" y="2080987"/>
            <a:ext cx="10194797" cy="5719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32621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738000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pl-PL" sz="3200" dirty="0">
                <a:solidFill>
                  <a:schemeClr val="bg1"/>
                </a:solidFill>
              </a:rPr>
              <a:t>Náklady na léky vydané na recepty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37</a:t>
            </a:fld>
            <a:endParaRPr lang="en-US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DE78BFF9-860A-422E-BC04-F5FCDA27CF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375" y="2080988"/>
            <a:ext cx="10194797" cy="5719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63474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1003301"/>
          </a:xfrm>
          <a:solidFill>
            <a:srgbClr val="3A7CA5"/>
          </a:solidFill>
        </p:spPr>
        <p:txBody>
          <a:bodyPr>
            <a:normAutofit fontScale="90000"/>
          </a:bodyPr>
          <a:lstStyle/>
          <a:p>
            <a:pPr algn="l"/>
            <a:r>
              <a:rPr lang="pl-PL" sz="3200" dirty="0">
                <a:solidFill>
                  <a:schemeClr val="bg1"/>
                </a:solidFill>
              </a:rPr>
              <a:t>Náklady na zdravotnické prostředky vydané na poukazy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38</a:t>
            </a:fld>
            <a:endParaRPr lang="en-US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F3684209-8C22-455A-A8D6-72663F1A72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375" y="2080988"/>
            <a:ext cx="10194797" cy="5719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43529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8"/>
            <a:ext cx="10194797" cy="1022351"/>
          </a:xfrm>
          <a:solidFill>
            <a:srgbClr val="3A7CA5"/>
          </a:solidFill>
        </p:spPr>
        <p:txBody>
          <a:bodyPr>
            <a:normAutofit fontScale="90000"/>
          </a:bodyPr>
          <a:lstStyle/>
          <a:p>
            <a:pPr algn="l"/>
            <a:r>
              <a:rPr lang="pl-PL" sz="3200" dirty="0">
                <a:solidFill>
                  <a:schemeClr val="bg1"/>
                </a:solidFill>
              </a:rPr>
              <a:t>KUMULOVANÉ NÁRŮSTY PŘÍJMŮ A NÁKLADŮ V JEDNOTLIVÝCH SEGMENTECH MEZI ROKY 2020 A 2025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39</a:t>
            </a:fld>
            <a:endParaRPr lang="en-US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C5CEFC57-28FD-4866-A0E7-C394F2FC13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9003" y="2047455"/>
            <a:ext cx="10201056" cy="5738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5040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076503" y="1104898"/>
            <a:ext cx="10277295" cy="660401"/>
          </a:xfrm>
          <a:prstGeom prst="rect">
            <a:avLst/>
          </a:prstGeom>
          <a:solidFill>
            <a:srgbClr val="3A7CA5"/>
          </a:solidFill>
        </p:spPr>
        <p:txBody>
          <a:bodyPr vert="horz" lIns="118894" tIns="59446" rIns="118894" bIns="59446" rtlCol="0" anchor="t">
            <a:normAutofit/>
          </a:bodyPr>
          <a:lstStyle>
            <a:lvl1pPr algn="ctr" defTabSz="1188940" rtl="0" eaLnBrk="1" latinLnBrk="0" hangingPunct="1">
              <a:spcBef>
                <a:spcPct val="0"/>
              </a:spcBef>
              <a:buNone/>
              <a:defRPr sz="28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cs-CZ" sz="3200" dirty="0">
                <a:solidFill>
                  <a:schemeClr val="bg1"/>
                </a:solidFill>
              </a:rPr>
              <a:t>Členové AK DŘ – poskytovatelé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8" name="Zástupný symbol pro číslo snímku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4B233D92-6CFA-4380-9586-AE9D276313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2294" y="2389981"/>
            <a:ext cx="10265569" cy="4679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93796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8"/>
            <a:ext cx="10194797" cy="1022351"/>
          </a:xfrm>
          <a:solidFill>
            <a:srgbClr val="3A7CA5"/>
          </a:solidFill>
        </p:spPr>
        <p:txBody>
          <a:bodyPr>
            <a:normAutofit fontScale="90000"/>
          </a:bodyPr>
          <a:lstStyle/>
          <a:p>
            <a:pPr algn="l"/>
            <a:r>
              <a:rPr lang="pl-PL" sz="3200" dirty="0">
                <a:solidFill>
                  <a:schemeClr val="bg1"/>
                </a:solidFill>
              </a:rPr>
              <a:t>ROZLOŽENÍ NÁKLADŮ NA ZDRAVOTNÍ PÉČI DLE JEDNOTLIVÝCH SEGMENTŮ V % V ROCE 2025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40</a:t>
            </a:fld>
            <a:endParaRPr lang="en-US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4139A013-48BC-49BE-8B39-403EB5D3FA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2753" y="2541277"/>
            <a:ext cx="7458379" cy="535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86018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076400" y="2152950"/>
            <a:ext cx="10277295" cy="1523700"/>
          </a:xfrm>
          <a:prstGeom prst="rect">
            <a:avLst/>
          </a:prstGeom>
          <a:solidFill>
            <a:srgbClr val="3A7CA5"/>
          </a:solidFill>
        </p:spPr>
        <p:txBody>
          <a:bodyPr vert="horz" lIns="118894" tIns="59446" rIns="118894" bIns="59446" rtlCol="0" anchor="t">
            <a:normAutofit/>
          </a:bodyPr>
          <a:lstStyle>
            <a:lvl1pPr algn="ctr" defTabSz="1188940" rtl="0" eaLnBrk="1" latinLnBrk="0" hangingPunct="1">
              <a:spcBef>
                <a:spcPct val="0"/>
              </a:spcBef>
              <a:buNone/>
              <a:defRPr sz="28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4400" dirty="0">
                <a:solidFill>
                  <a:schemeClr val="bg1"/>
                </a:solidFill>
              </a:rPr>
              <a:t>Vývoj příjmů systému v.z.p. a odhad na roky 2026 až 2028</a:t>
            </a:r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77607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738000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pl-PL" sz="3200" dirty="0">
                <a:solidFill>
                  <a:schemeClr val="bg1"/>
                </a:solidFill>
              </a:rPr>
              <a:t>Vývoj příjmů systému v.z.p. v ČR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>
          <a:xfrm>
            <a:off x="8809200" y="7988110"/>
            <a:ext cx="2844800" cy="458857"/>
          </a:xfrm>
        </p:spPr>
        <p:txBody>
          <a:bodyPr/>
          <a:lstStyle/>
          <a:p>
            <a:fld id="{7CAFE06B-84BC-9F45-85D7-AD45A3C26E5A}" type="slidenum">
              <a:rPr lang="en-US" smtClean="0"/>
              <a:pPr/>
              <a:t>42</a:t>
            </a:fld>
            <a:endParaRPr lang="en-US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7FC4EEB5-7612-44B4-9E84-C6A5D23E74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6165" y="2062698"/>
            <a:ext cx="10194797" cy="5766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72824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738000"/>
          </a:xfrm>
          <a:solidFill>
            <a:srgbClr val="3A7CA5"/>
          </a:solidFill>
        </p:spPr>
        <p:txBody>
          <a:bodyPr>
            <a:noAutofit/>
          </a:bodyPr>
          <a:lstStyle/>
          <a:p>
            <a:pPr algn="l"/>
            <a:r>
              <a:rPr lang="pl-PL" sz="2700" dirty="0">
                <a:solidFill>
                  <a:schemeClr val="bg1"/>
                </a:solidFill>
              </a:rPr>
              <a:t>Vývoj příjmů systému v.z.p. v ČR a odhad na roky 2026 až 2028</a:t>
            </a:r>
            <a:endParaRPr lang="en-US" sz="2700" dirty="0">
              <a:solidFill>
                <a:schemeClr val="bg1"/>
              </a:solidFill>
            </a:endParaRP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>
          <a:xfrm>
            <a:off x="8809200" y="7988110"/>
            <a:ext cx="2844800" cy="458857"/>
          </a:xfrm>
        </p:spPr>
        <p:txBody>
          <a:bodyPr/>
          <a:lstStyle/>
          <a:p>
            <a:fld id="{7CAFE06B-84BC-9F45-85D7-AD45A3C26E5A}" type="slidenum">
              <a:rPr lang="en-US" smtClean="0"/>
              <a:pPr/>
              <a:t>43</a:t>
            </a:fld>
            <a:endParaRPr lang="en-US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C8F897CF-A83A-4353-81BC-1D3B604768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9003" y="2138905"/>
            <a:ext cx="10209363" cy="5578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68818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9"/>
            <a:ext cx="10194797" cy="738000"/>
          </a:xfrm>
          <a:solidFill>
            <a:srgbClr val="3A7CA5"/>
          </a:solidFill>
        </p:spPr>
        <p:txBody>
          <a:bodyPr>
            <a:normAutofit/>
          </a:bodyPr>
          <a:lstStyle/>
          <a:p>
            <a:pPr algn="l"/>
            <a:r>
              <a:rPr lang="pl-PL" sz="3200" dirty="0">
                <a:solidFill>
                  <a:schemeClr val="bg1"/>
                </a:solidFill>
              </a:rPr>
              <a:t>Odhad příjmů systému v.z.p. na roky 2026 až 2028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44</a:t>
            </a:fld>
            <a:endParaRPr lang="en-US"/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DBFF5C32-D8D9-4915-853B-5A83169690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7644" y="3413918"/>
            <a:ext cx="10190123" cy="2998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01900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003" y="882648"/>
            <a:ext cx="10194797" cy="1022351"/>
          </a:xfrm>
          <a:solidFill>
            <a:srgbClr val="3A7CA5"/>
          </a:solidFill>
        </p:spPr>
        <p:txBody>
          <a:bodyPr>
            <a:normAutofit fontScale="90000"/>
          </a:bodyPr>
          <a:lstStyle/>
          <a:p>
            <a:pPr algn="l"/>
            <a:r>
              <a:rPr lang="pl-PL" sz="3200" dirty="0">
                <a:solidFill>
                  <a:schemeClr val="bg1"/>
                </a:solidFill>
              </a:rPr>
              <a:t>Kumulovaný nárůst příjmů a nákladů na zdravotní služby vzhledem k roku 2000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45</a:t>
            </a:fld>
            <a:endParaRPr lang="en-US" dirty="0"/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3F342876-3508-4272-B8D0-6840BBFF7F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9003" y="7560114"/>
            <a:ext cx="7334250" cy="485775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99BB8FB5-2B76-4546-8C09-AFFD8147C3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9004" y="2233401"/>
            <a:ext cx="10194796" cy="4998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10228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076400" y="2152950"/>
            <a:ext cx="10277295" cy="1523700"/>
          </a:xfrm>
          <a:prstGeom prst="rect">
            <a:avLst/>
          </a:prstGeom>
          <a:solidFill>
            <a:srgbClr val="3A7CA5"/>
          </a:solidFill>
        </p:spPr>
        <p:txBody>
          <a:bodyPr vert="horz" lIns="118894" tIns="59446" rIns="118894" bIns="59446" rtlCol="0" anchor="t">
            <a:normAutofit/>
          </a:bodyPr>
          <a:lstStyle>
            <a:lvl1pPr algn="ctr" defTabSz="1188940" rtl="0" eaLnBrk="1" latinLnBrk="0" hangingPunct="1">
              <a:spcBef>
                <a:spcPct val="0"/>
              </a:spcBef>
              <a:buNone/>
              <a:defRPr sz="28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4400" dirty="0">
                <a:solidFill>
                  <a:schemeClr val="bg1"/>
                </a:solidFill>
              </a:rPr>
              <a:t>Zpráva Analytické komise DŘ za rok 2025</a:t>
            </a:r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45730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3A7CA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856537"/>
            <a:ext cx="10363200" cy="1751812"/>
          </a:xfrm>
        </p:spPr>
        <p:txBody>
          <a:bodyPr>
            <a:normAutofit/>
          </a:bodyPr>
          <a:lstStyle/>
          <a:p>
            <a:r>
              <a:rPr lang="cs-CZ" sz="4400" dirty="0"/>
              <a:t>Děkuji za pozornost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35744216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076400" y="2628900"/>
            <a:ext cx="10277295" cy="5467350"/>
          </a:xfrm>
        </p:spPr>
        <p:txBody>
          <a:bodyPr>
            <a:normAutofit/>
          </a:bodyPr>
          <a:lstStyle/>
          <a:p>
            <a:r>
              <a:rPr lang="cs-CZ" sz="2800" u="sng" dirty="0">
                <a:solidFill>
                  <a:schemeClr val="tx1"/>
                </a:solidFill>
              </a:rPr>
              <a:t>Výňatek z jednacího řádu:</a:t>
            </a:r>
          </a:p>
          <a:p>
            <a:endParaRPr lang="cs-CZ" sz="2800" dirty="0">
              <a:solidFill>
                <a:schemeClr val="tx1"/>
              </a:solidFill>
            </a:endParaRPr>
          </a:p>
          <a:p>
            <a:r>
              <a:rPr lang="cs-CZ" sz="2400" dirty="0">
                <a:solidFill>
                  <a:schemeClr val="tx1"/>
                </a:solidFill>
              </a:rPr>
              <a:t>Jednání je schopno se usnášet, je-li přítomna více než polovina všech zástupců zdravotních pojišťoven a více než polovina všech zástupců skupin poskytovatelů.</a:t>
            </a:r>
          </a:p>
          <a:p>
            <a:endParaRPr lang="cs-CZ" sz="2400" dirty="0">
              <a:solidFill>
                <a:schemeClr val="tx1"/>
              </a:solidFill>
            </a:endParaRPr>
          </a:p>
          <a:p>
            <a:r>
              <a:rPr lang="cs-CZ" sz="2400" dirty="0">
                <a:solidFill>
                  <a:schemeClr val="tx1"/>
                </a:solidFill>
              </a:rPr>
              <a:t>K platnosti rozhodnutí je třeba souhlasu více než dvou třetin přítomných zástupců zdravotních pojišťoven a více než dvou třetin přítomných zástupců skupin poskytovatelů. </a:t>
            </a:r>
          </a:p>
          <a:p>
            <a:endParaRPr lang="cs-CZ" sz="2800" dirty="0">
              <a:solidFill>
                <a:schemeClr val="tx1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076400" y="1105200"/>
            <a:ext cx="10277295" cy="660401"/>
          </a:xfrm>
          <a:prstGeom prst="rect">
            <a:avLst/>
          </a:prstGeom>
          <a:solidFill>
            <a:srgbClr val="3A7CA5"/>
          </a:solidFill>
        </p:spPr>
        <p:txBody>
          <a:bodyPr vert="horz" lIns="118894" tIns="59446" rIns="118894" bIns="59446" rtlCol="0" anchor="t">
            <a:normAutofit/>
          </a:bodyPr>
          <a:lstStyle>
            <a:lvl1pPr algn="ctr" defTabSz="1188940" rtl="0" eaLnBrk="1" latinLnBrk="0" hangingPunct="1">
              <a:spcBef>
                <a:spcPct val="0"/>
              </a:spcBef>
              <a:buNone/>
              <a:defRPr sz="28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cs-CZ" sz="3200" dirty="0">
                <a:solidFill>
                  <a:schemeClr val="bg1"/>
                </a:solidFill>
              </a:rPr>
              <a:t>Jednací řád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72588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076400" y="2152949"/>
            <a:ext cx="10277295" cy="813275"/>
          </a:xfrm>
          <a:prstGeom prst="rect">
            <a:avLst/>
          </a:prstGeom>
          <a:solidFill>
            <a:srgbClr val="3A7CA5"/>
          </a:solidFill>
        </p:spPr>
        <p:txBody>
          <a:bodyPr vert="horz" lIns="118894" tIns="59446" rIns="118894" bIns="59446" rtlCol="0" anchor="t">
            <a:normAutofit/>
          </a:bodyPr>
          <a:lstStyle>
            <a:lvl1pPr algn="ctr" defTabSz="1188940" rtl="0" eaLnBrk="1" latinLnBrk="0" hangingPunct="1">
              <a:spcBef>
                <a:spcPct val="0"/>
              </a:spcBef>
              <a:buNone/>
              <a:defRPr sz="28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4400" dirty="0">
                <a:solidFill>
                  <a:schemeClr val="bg1"/>
                </a:solidFill>
              </a:rPr>
              <a:t>Data NZIS a demografický vývoj</a:t>
            </a:r>
            <a:endParaRPr lang="en-US" sz="4400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E06B-84BC-9F45-85D7-AD45A3C26E5A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7576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0D74BD4-50D7-4481-8699-AEDC74FFF0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avá složená závorka 2">
            <a:extLst>
              <a:ext uri="{FF2B5EF4-FFF2-40B4-BE49-F238E27FC236}">
                <a16:creationId xmlns:a16="http://schemas.microsoft.com/office/drawing/2014/main" id="{A8F3F3F1-B62F-C4D8-FC0D-C79D931F9AE1}"/>
              </a:ext>
            </a:extLst>
          </p:cNvPr>
          <p:cNvSpPr/>
          <p:nvPr/>
        </p:nvSpPr>
        <p:spPr bwMode="auto">
          <a:xfrm rot="16200000">
            <a:off x="6026651" y="-4062630"/>
            <a:ext cx="301915" cy="11450790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cs-CZ" sz="2400">
              <a:solidFill>
                <a:srgbClr val="164B4F"/>
              </a:solidFill>
              <a:latin typeface="Tahoma" pitchFamily="34" charset="0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0E7048EB-F0C7-1C4F-B531-A805E99DC769}"/>
              </a:ext>
            </a:extLst>
          </p:cNvPr>
          <p:cNvSpPr txBox="1"/>
          <p:nvPr/>
        </p:nvSpPr>
        <p:spPr>
          <a:xfrm>
            <a:off x="1396803" y="1083731"/>
            <a:ext cx="95616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cs-CZ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ce dat sociálních a zdravotních služeb v jednom systému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EB8D4130-510C-4CB4-2571-A38A4823D54D}"/>
              </a:ext>
            </a:extLst>
          </p:cNvPr>
          <p:cNvSpPr txBox="1"/>
          <p:nvPr/>
        </p:nvSpPr>
        <p:spPr>
          <a:xfrm>
            <a:off x="491199" y="1682154"/>
            <a:ext cx="335267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88543">
              <a:defRPr/>
            </a:pPr>
            <a:r>
              <a:rPr lang="cs-CZ" sz="9000" b="1" dirty="0">
                <a:solidFill>
                  <a:prstClr val="black"/>
                </a:solidFill>
                <a:latin typeface="Calibri" panose="020F0502020204030204"/>
              </a:rPr>
              <a:t>MZD</a:t>
            </a:r>
          </a:p>
        </p:txBody>
      </p:sp>
      <p:sp>
        <p:nvSpPr>
          <p:cNvPr id="12" name="Šipka: doprava 11">
            <a:extLst>
              <a:ext uri="{FF2B5EF4-FFF2-40B4-BE49-F238E27FC236}">
                <a16:creationId xmlns:a16="http://schemas.microsoft.com/office/drawing/2014/main" id="{DE720C10-1D36-37BA-927B-A52C3CF87BFC}"/>
              </a:ext>
            </a:extLst>
          </p:cNvPr>
          <p:cNvSpPr/>
          <p:nvPr/>
        </p:nvSpPr>
        <p:spPr>
          <a:xfrm>
            <a:off x="3163691" y="2320640"/>
            <a:ext cx="1181055" cy="3047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543">
              <a:defRPr/>
            </a:pPr>
            <a:endParaRPr lang="cs-CZ" sz="2116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Šipka: doprava 14">
            <a:extLst>
              <a:ext uri="{FF2B5EF4-FFF2-40B4-BE49-F238E27FC236}">
                <a16:creationId xmlns:a16="http://schemas.microsoft.com/office/drawing/2014/main" id="{14565D0F-1F27-0B4D-71EE-7891B2DA0F41}"/>
              </a:ext>
            </a:extLst>
          </p:cNvPr>
          <p:cNvSpPr/>
          <p:nvPr/>
        </p:nvSpPr>
        <p:spPr>
          <a:xfrm rot="10800000">
            <a:off x="7695814" y="2308176"/>
            <a:ext cx="1181055" cy="3047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543">
              <a:defRPr/>
            </a:pPr>
            <a:endParaRPr lang="cs-CZ" sz="2116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DF2542F2-745D-8B67-8B22-B4C4B1F98420}"/>
              </a:ext>
            </a:extLst>
          </p:cNvPr>
          <p:cNvSpPr txBox="1"/>
          <p:nvPr/>
        </p:nvSpPr>
        <p:spPr>
          <a:xfrm>
            <a:off x="612339" y="3018810"/>
            <a:ext cx="2397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b="1" i="1" dirty="0">
                <a:solidFill>
                  <a:prstClr val="black"/>
                </a:solidFill>
                <a:latin typeface="Calibri" panose="020F0502020204030204"/>
              </a:rPr>
              <a:t>Národní zdravotnický informační systém 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EA6A01-4371-A74B-C9D3-75284AF0EF15}"/>
              </a:ext>
            </a:extLst>
          </p:cNvPr>
          <p:cNvSpPr txBox="1"/>
          <p:nvPr/>
        </p:nvSpPr>
        <p:spPr>
          <a:xfrm>
            <a:off x="8751272" y="2994054"/>
            <a:ext cx="30585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b="1" i="1" dirty="0">
                <a:solidFill>
                  <a:prstClr val="black"/>
                </a:solidFill>
                <a:latin typeface="Calibri" panose="020F0502020204030204"/>
              </a:rPr>
              <a:t>Česká správa sociálního zabezpečení, Úřad práce</a:t>
            </a:r>
          </a:p>
        </p:txBody>
      </p:sp>
      <p:sp>
        <p:nvSpPr>
          <p:cNvPr id="18" name="Oval 14">
            <a:extLst>
              <a:ext uri="{FF2B5EF4-FFF2-40B4-BE49-F238E27FC236}">
                <a16:creationId xmlns:a16="http://schemas.microsoft.com/office/drawing/2014/main" id="{4ACB700C-F67F-E50C-9AFA-DA2785313B85}"/>
              </a:ext>
            </a:extLst>
          </p:cNvPr>
          <p:cNvSpPr/>
          <p:nvPr/>
        </p:nvSpPr>
        <p:spPr>
          <a:xfrm>
            <a:off x="5092312" y="1819714"/>
            <a:ext cx="2038524" cy="196166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cs-CZ" sz="2400" b="1" dirty="0">
                <a:solidFill>
                  <a:prstClr val="white"/>
                </a:solidFill>
                <a:latin typeface="Calibri" panose="020F0502020204030204"/>
              </a:rPr>
              <a:t>Integrace dat</a:t>
            </a:r>
          </a:p>
        </p:txBody>
      </p: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ABF25724-7A71-8F57-6F97-F8F4387E7C30}"/>
              </a:ext>
            </a:extLst>
          </p:cNvPr>
          <p:cNvCxnSpPr/>
          <p:nvPr/>
        </p:nvCxnSpPr>
        <p:spPr>
          <a:xfrm flipH="1">
            <a:off x="2643362" y="3650799"/>
            <a:ext cx="2448951" cy="91440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6E6A869B-5487-9D07-849A-E1224A097CDD}"/>
              </a:ext>
            </a:extLst>
          </p:cNvPr>
          <p:cNvSpPr txBox="1"/>
          <p:nvPr/>
        </p:nvSpPr>
        <p:spPr>
          <a:xfrm>
            <a:off x="491198" y="4666365"/>
            <a:ext cx="239712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b="1" dirty="0">
                <a:solidFill>
                  <a:srgbClr val="000000"/>
                </a:solidFill>
                <a:latin typeface="Calibri" panose="020F0502020204030204"/>
              </a:rPr>
              <a:t>Hodnocení sociálních služeb u poskytovatelů zdravotní péče </a:t>
            </a:r>
          </a:p>
        </p:txBody>
      </p: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BE009E73-81CE-E640-566E-D78CC3B435B9}"/>
              </a:ext>
            </a:extLst>
          </p:cNvPr>
          <p:cNvCxnSpPr>
            <a:cxnSpLocks/>
          </p:cNvCxnSpPr>
          <p:nvPr/>
        </p:nvCxnSpPr>
        <p:spPr>
          <a:xfrm flipH="1">
            <a:off x="3895402" y="3803199"/>
            <a:ext cx="1349310" cy="162255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D5917F-3E79-7BDE-F21F-D1BC1A6DFBE9}"/>
              </a:ext>
            </a:extLst>
          </p:cNvPr>
          <p:cNvSpPr txBox="1"/>
          <p:nvPr/>
        </p:nvSpPr>
        <p:spPr>
          <a:xfrm>
            <a:off x="2291322" y="5425751"/>
            <a:ext cx="239712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b="1" dirty="0">
                <a:solidFill>
                  <a:srgbClr val="000000"/>
                </a:solidFill>
                <a:latin typeface="Calibri" panose="020F0502020204030204"/>
              </a:rPr>
              <a:t>Zdravotní služby dle invalidity a stupně závislosti pacientů</a:t>
            </a:r>
          </a:p>
        </p:txBody>
      </p: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D836F990-F438-D434-2967-C2914018BFE7}"/>
              </a:ext>
            </a:extLst>
          </p:cNvPr>
          <p:cNvCxnSpPr>
            <a:cxnSpLocks/>
          </p:cNvCxnSpPr>
          <p:nvPr/>
        </p:nvCxnSpPr>
        <p:spPr>
          <a:xfrm>
            <a:off x="6055745" y="4045320"/>
            <a:ext cx="0" cy="196684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4C51B552-F275-D11F-8D59-AEB069490672}"/>
              </a:ext>
            </a:extLst>
          </p:cNvPr>
          <p:cNvSpPr txBox="1"/>
          <p:nvPr/>
        </p:nvSpPr>
        <p:spPr>
          <a:xfrm>
            <a:off x="4760304" y="6012162"/>
            <a:ext cx="25908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srgbClr val="000000"/>
                </a:solidFill>
                <a:latin typeface="Calibri" panose="020F0502020204030204"/>
              </a:rPr>
              <a:t>Komplexní hodnocení obsahu péče ošetřovatelských služeb</a:t>
            </a:r>
          </a:p>
        </p:txBody>
      </p: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815C732B-47FD-A502-563C-BB4E94C118E3}"/>
              </a:ext>
            </a:extLst>
          </p:cNvPr>
          <p:cNvCxnSpPr>
            <a:cxnSpLocks/>
          </p:cNvCxnSpPr>
          <p:nvPr/>
        </p:nvCxnSpPr>
        <p:spPr>
          <a:xfrm>
            <a:off x="6765542" y="3803199"/>
            <a:ext cx="1127425" cy="1562164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B4F228CE-2E12-611A-AD03-626556C0F478}"/>
              </a:ext>
            </a:extLst>
          </p:cNvPr>
          <p:cNvCxnSpPr>
            <a:cxnSpLocks/>
          </p:cNvCxnSpPr>
          <p:nvPr/>
        </p:nvCxnSpPr>
        <p:spPr>
          <a:xfrm>
            <a:off x="7131955" y="3549633"/>
            <a:ext cx="2281840" cy="103464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79F7B299-C9F0-D908-6CE4-19B2EF759BCD}"/>
              </a:ext>
            </a:extLst>
          </p:cNvPr>
          <p:cNvSpPr txBox="1"/>
          <p:nvPr/>
        </p:nvSpPr>
        <p:spPr>
          <a:xfrm>
            <a:off x="8958826" y="4502421"/>
            <a:ext cx="239712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b="1" dirty="0">
                <a:solidFill>
                  <a:srgbClr val="000000"/>
                </a:solidFill>
                <a:latin typeface="Calibri" panose="020F0502020204030204"/>
              </a:rPr>
              <a:t>Zdravotní péče o klienty v sociálních službách 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0657779E-9C9D-4F35-2CDA-964D4C0426D2}"/>
              </a:ext>
            </a:extLst>
          </p:cNvPr>
          <p:cNvSpPr txBox="1"/>
          <p:nvPr/>
        </p:nvSpPr>
        <p:spPr>
          <a:xfrm>
            <a:off x="7130837" y="5460395"/>
            <a:ext cx="222994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b="1" dirty="0">
                <a:solidFill>
                  <a:srgbClr val="000000"/>
                </a:solidFill>
                <a:latin typeface="Calibri" panose="020F0502020204030204"/>
              </a:rPr>
              <a:t>Domácí péče, sociálně zdravotní respitní péče</a:t>
            </a:r>
          </a:p>
        </p:txBody>
      </p:sp>
      <p:sp>
        <p:nvSpPr>
          <p:cNvPr id="29" name="Pravá složená závorka 28">
            <a:extLst>
              <a:ext uri="{FF2B5EF4-FFF2-40B4-BE49-F238E27FC236}">
                <a16:creationId xmlns:a16="http://schemas.microsoft.com/office/drawing/2014/main" id="{6AD50501-E305-655B-DF58-DE4884BD2B6D}"/>
              </a:ext>
            </a:extLst>
          </p:cNvPr>
          <p:cNvSpPr/>
          <p:nvPr/>
        </p:nvSpPr>
        <p:spPr>
          <a:xfrm rot="5400000" flipH="1">
            <a:off x="5948530" y="2280447"/>
            <a:ext cx="400110" cy="9964759"/>
          </a:xfrm>
          <a:prstGeom prst="rightBrace">
            <a:avLst>
              <a:gd name="adj1" fmla="val 8333"/>
              <a:gd name="adj2" fmla="val 50427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cs-CZ">
              <a:solidFill>
                <a:srgbClr val="164B4F"/>
              </a:solidFill>
              <a:latin typeface="Euphemia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5746D60B-7B49-1ACA-8D99-5E9BF7ECD263}"/>
              </a:ext>
            </a:extLst>
          </p:cNvPr>
          <p:cNvSpPr txBox="1"/>
          <p:nvPr/>
        </p:nvSpPr>
        <p:spPr>
          <a:xfrm>
            <a:off x="3754218" y="7276460"/>
            <a:ext cx="47893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cs-CZ" sz="2000" b="1" dirty="0">
                <a:solidFill>
                  <a:srgbClr val="164B4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POVÁNÍ TRAJEKTORIÍ PACIENTŮ ZA PÉČÍ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A7FAF410-F9D0-4A8B-B536-E4C130AE671E}"/>
              </a:ext>
            </a:extLst>
          </p:cNvPr>
          <p:cNvSpPr txBox="1"/>
          <p:nvPr/>
        </p:nvSpPr>
        <p:spPr>
          <a:xfrm>
            <a:off x="9002465" y="1711518"/>
            <a:ext cx="302906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88543">
              <a:defRPr/>
            </a:pPr>
            <a:r>
              <a:rPr lang="cs-CZ" sz="9000" b="1" dirty="0">
                <a:solidFill>
                  <a:prstClr val="black"/>
                </a:solidFill>
                <a:latin typeface="Calibri" panose="020F0502020204030204"/>
              </a:rPr>
              <a:t>MPSV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C491FAB0-4E1D-5261-7A92-E889391CB1BB}"/>
              </a:ext>
            </a:extLst>
          </p:cNvPr>
          <p:cNvSpPr txBox="1"/>
          <p:nvPr/>
        </p:nvSpPr>
        <p:spPr>
          <a:xfrm>
            <a:off x="2778205" y="3871522"/>
            <a:ext cx="6738254" cy="523220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2800" b="1" dirty="0">
                <a:solidFill>
                  <a:srgbClr val="002060"/>
                </a:solidFill>
              </a:rPr>
              <a:t>https://www.nzip.cz/szd</a:t>
            </a:r>
            <a:endParaRPr lang="cs-CZ" sz="2600" b="1" dirty="0">
              <a:solidFill>
                <a:srgbClr val="00206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523205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6B54676-AB6F-847F-B8F6-CADFFA9058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>
            <a:extLst>
              <a:ext uri="{FF2B5EF4-FFF2-40B4-BE49-F238E27FC236}">
                <a16:creationId xmlns:a16="http://schemas.microsoft.com/office/drawing/2014/main" id="{8E279843-B778-FDD9-8A40-F47F947E98CB}"/>
              </a:ext>
            </a:extLst>
          </p:cNvPr>
          <p:cNvSpPr txBox="1"/>
          <p:nvPr/>
        </p:nvSpPr>
        <p:spPr>
          <a:xfrm>
            <a:off x="0" y="1075376"/>
            <a:ext cx="11947490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cs-CZ" sz="4800" b="1" u="sng" dirty="0">
                <a:solidFill>
                  <a:srgbClr val="002060"/>
                </a:solidFill>
                <a:latin typeface="Calibri" panose="020F0502020204030204"/>
              </a:rPr>
              <a:t>Úvodem</a:t>
            </a:r>
          </a:p>
          <a:p>
            <a:pPr algn="ctr">
              <a:defRPr/>
            </a:pPr>
            <a:r>
              <a:rPr lang="cs-CZ" sz="4800" b="1" dirty="0">
                <a:solidFill>
                  <a:srgbClr val="002060"/>
                </a:solidFill>
                <a:latin typeface="Calibri" panose="020F0502020204030204"/>
              </a:rPr>
              <a:t>Kritický je zejména demografický vývoj, kterým česká populace v následujících </a:t>
            </a:r>
          </a:p>
          <a:p>
            <a:pPr algn="ctr">
              <a:defRPr/>
            </a:pPr>
            <a:r>
              <a:rPr lang="cs-CZ" sz="4800" b="1" dirty="0">
                <a:solidFill>
                  <a:srgbClr val="002060"/>
                </a:solidFill>
                <a:latin typeface="Calibri" panose="020F0502020204030204"/>
              </a:rPr>
              <a:t>15 – 20 letech projde </a:t>
            </a:r>
          </a:p>
        </p:txBody>
      </p:sp>
      <p:sp>
        <p:nvSpPr>
          <p:cNvPr id="2" name="TextBox 6">
            <a:extLst>
              <a:ext uri="{FF2B5EF4-FFF2-40B4-BE49-F238E27FC236}">
                <a16:creationId xmlns:a16="http://schemas.microsoft.com/office/drawing/2014/main" id="{AF1E4BBB-AF79-BAD9-78C6-41411920467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259442" y="7289246"/>
            <a:ext cx="668804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cs-CZ" sz="1050" dirty="0">
                <a:solidFill>
                  <a:prstClr val="black"/>
                </a:solidFill>
                <a:latin typeface="Calibri" panose="020F0502020204030204"/>
              </a:rPr>
              <a:t>Zdroj: Český statistický úřad – ISDEM, https://www.czso.cz/csu/czso/projekce-obyvatelstva-ceske-republiky-2018-2100</a:t>
            </a:r>
            <a:endParaRPr lang="cs-CZ" sz="1050" i="1" dirty="0">
              <a:solidFill>
                <a:prstClr val="black"/>
              </a:solidFill>
              <a:latin typeface="Calibri" panose="020F0502020204030204"/>
            </a:endParaRP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A18B9155-481C-5F8E-03B8-56A4814BC815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/>
          </p:nvPr>
        </p:nvGraphicFramePr>
        <p:xfrm>
          <a:off x="4592097" y="4571732"/>
          <a:ext cx="7475042" cy="1463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65103">
                  <a:extLst>
                    <a:ext uri="{9D8B030D-6E8A-4147-A177-3AD203B41FA5}">
                      <a16:colId xmlns:a16="http://schemas.microsoft.com/office/drawing/2014/main" val="2765753559"/>
                    </a:ext>
                  </a:extLst>
                </a:gridCol>
                <a:gridCol w="1581023">
                  <a:extLst>
                    <a:ext uri="{9D8B030D-6E8A-4147-A177-3AD203B41FA5}">
                      <a16:colId xmlns:a16="http://schemas.microsoft.com/office/drawing/2014/main" val="4027662802"/>
                    </a:ext>
                  </a:extLst>
                </a:gridCol>
                <a:gridCol w="1581020">
                  <a:extLst>
                    <a:ext uri="{9D8B030D-6E8A-4147-A177-3AD203B41FA5}">
                      <a16:colId xmlns:a16="http://schemas.microsoft.com/office/drawing/2014/main" val="3874475901"/>
                    </a:ext>
                  </a:extLst>
                </a:gridCol>
                <a:gridCol w="1547896">
                  <a:extLst>
                    <a:ext uri="{9D8B030D-6E8A-4147-A177-3AD203B41FA5}">
                      <a16:colId xmlns:a16="http://schemas.microsoft.com/office/drawing/2014/main" val="1823650083"/>
                    </a:ext>
                  </a:extLst>
                </a:gridCol>
              </a:tblGrid>
              <a:tr h="286627">
                <a:tc>
                  <a:txBody>
                    <a:bodyPr/>
                    <a:lstStyle/>
                    <a:p>
                      <a:pPr algn="l" fontAlgn="b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 31. 12.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4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5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3161172"/>
                  </a:ext>
                </a:extLst>
              </a:tr>
              <a:tr h="335270">
                <a:tc>
                  <a:txBody>
                    <a:bodyPr/>
                    <a:lstStyle/>
                    <a:p>
                      <a:pPr algn="r" fontAlgn="t"/>
                      <a:r>
                        <a:rPr lang="cs-CZ" sz="18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6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169 10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effectLst/>
                          <a:latin typeface="Arial" panose="020B0604020202020204" pitchFamily="34" charset="0"/>
                        </a:rPr>
                        <a:t>2 698 76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effectLst/>
                          <a:latin typeface="Arial" panose="020B0604020202020204" pitchFamily="34" charset="0"/>
                        </a:rPr>
                        <a:t>3 075 58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5685866"/>
                  </a:ext>
                </a:extLst>
              </a:tr>
              <a:tr h="335270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7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94 23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effectLst/>
                          <a:latin typeface="Arial" panose="020B0604020202020204" pitchFamily="34" charset="0"/>
                        </a:rPr>
                        <a:t>1 372 41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 591 66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4657658"/>
                  </a:ext>
                </a:extLst>
              </a:tr>
              <a:tr h="230409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8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8 47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470 46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05 38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1251127"/>
                  </a:ext>
                </a:extLst>
              </a:tr>
            </a:tbl>
          </a:graphicData>
        </a:graphic>
      </p:graphicFrame>
      <p:sp>
        <p:nvSpPr>
          <p:cNvPr id="5" name="Šipka: zahnutá nahoru 4">
            <a:extLst>
              <a:ext uri="{FF2B5EF4-FFF2-40B4-BE49-F238E27FC236}">
                <a16:creationId xmlns:a16="http://schemas.microsoft.com/office/drawing/2014/main" id="{FBAE6190-5E2E-3243-9E5A-B9B3F240DE73}"/>
              </a:ext>
            </a:extLst>
          </p:cNvPr>
          <p:cNvSpPr/>
          <p:nvPr/>
        </p:nvSpPr>
        <p:spPr>
          <a:xfrm>
            <a:off x="7971987" y="6235197"/>
            <a:ext cx="1929284" cy="584775"/>
          </a:xfrm>
          <a:prstGeom prst="curvedUp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cs-CZ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024F119F-1312-8115-5650-279C6EB2BA12}"/>
              </a:ext>
            </a:extLst>
          </p:cNvPr>
          <p:cNvSpPr txBox="1"/>
          <p:nvPr/>
        </p:nvSpPr>
        <p:spPr>
          <a:xfrm>
            <a:off x="8415984" y="6179732"/>
            <a:ext cx="104129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2200" b="1" dirty="0">
                <a:solidFill>
                  <a:srgbClr val="FF0000"/>
                </a:solidFill>
                <a:latin typeface="Arial Black" panose="020B0A04020102020204" pitchFamily="34" charset="0"/>
              </a:rPr>
              <a:t>2,4 x</a:t>
            </a:r>
          </a:p>
        </p:txBody>
      </p:sp>
      <p:pic>
        <p:nvPicPr>
          <p:cNvPr id="14" name="Obrázek 13">
            <a:extLst>
              <a:ext uri="{FF2B5EF4-FFF2-40B4-BE49-F238E27FC236}">
                <a16:creationId xmlns:a16="http://schemas.microsoft.com/office/drawing/2014/main" id="{E09E47AB-3BB5-8D4E-027E-C23DF1DEAD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2151" y="4094051"/>
            <a:ext cx="4755292" cy="33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0754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14C86ED-F11D-CD55-71D2-7060DC7356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A32F484E-DFF8-FFDC-E8F3-FA79F1EE0EF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86229" y="1423923"/>
            <a:ext cx="22061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/>
              </a:rPr>
              <a:t>Zdroj: Český statistický úřad</a:t>
            </a:r>
            <a:endParaRPr lang="en-US" sz="14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12535-58B7-353C-FC75-05409C99906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cs-CZ" sz="2800" dirty="0">
                <a:solidFill>
                  <a:srgbClr val="002060"/>
                </a:solidFill>
                <a:latin typeface="+mn-lt"/>
                <a:cs typeface="+mn-cs"/>
              </a:rPr>
              <a:t>Vývoj populace mužů a žen je významně odlišný </a:t>
            </a:r>
            <a:endParaRPr lang="en-US" sz="2800" dirty="0">
              <a:solidFill>
                <a:srgbClr val="002060"/>
              </a:solidFill>
              <a:latin typeface="+mn-lt"/>
              <a:cs typeface="+mn-cs"/>
            </a:endParaRPr>
          </a:p>
        </p:txBody>
      </p:sp>
      <p:graphicFrame>
        <p:nvGraphicFramePr>
          <p:cNvPr id="21" name="Graf 20">
            <a:extLst>
              <a:ext uri="{FF2B5EF4-FFF2-40B4-BE49-F238E27FC236}">
                <a16:creationId xmlns:a16="http://schemas.microsoft.com/office/drawing/2014/main" id="{50C43C90-3F92-3AD7-81BC-2D893B0E062B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028622" y="2253963"/>
          <a:ext cx="6163379" cy="4337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Graf 21">
            <a:extLst>
              <a:ext uri="{FF2B5EF4-FFF2-40B4-BE49-F238E27FC236}">
                <a16:creationId xmlns:a16="http://schemas.microsoft.com/office/drawing/2014/main" id="{CE840B8C-B3B6-0783-1D98-E9F562ACFE70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126161" y="2253964"/>
          <a:ext cx="6163379" cy="4337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4E1AD423-A335-5201-32E4-113D09C28642}"/>
              </a:ext>
            </a:extLst>
          </p:cNvPr>
          <p:cNvSpPr txBox="1">
            <a:spLocks/>
          </p:cNvSpPr>
          <p:nvPr/>
        </p:nvSpPr>
        <p:spPr>
          <a:xfrm>
            <a:off x="1123564" y="2692287"/>
            <a:ext cx="5441950" cy="44962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5448A"/>
              </a:buClr>
              <a:defRPr/>
            </a:pPr>
            <a:endParaRPr lang="cs-CZ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83121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MPSV1">
    <a:dk1>
      <a:sysClr val="windowText" lastClr="000000"/>
    </a:dk1>
    <a:lt1>
      <a:sysClr val="window" lastClr="FFFFFF"/>
    </a:lt1>
    <a:dk2>
      <a:srgbClr val="15448A"/>
    </a:dk2>
    <a:lt2>
      <a:srgbClr val="FFFFFF"/>
    </a:lt2>
    <a:accent1>
      <a:srgbClr val="1F4E79"/>
    </a:accent1>
    <a:accent2>
      <a:srgbClr val="F7A000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1F4E79"/>
    </a:hlink>
    <a:folHlink>
      <a:srgbClr val="96607D"/>
    </a:folHlink>
  </a:clrScheme>
  <a:fontScheme name="MPSV1">
    <a:majorFont>
      <a:latin typeface="Arial Black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MPSV1">
    <a:dk1>
      <a:sysClr val="windowText" lastClr="000000"/>
    </a:dk1>
    <a:lt1>
      <a:sysClr val="window" lastClr="FFFFFF"/>
    </a:lt1>
    <a:dk2>
      <a:srgbClr val="15448A"/>
    </a:dk2>
    <a:lt2>
      <a:srgbClr val="FFFFFF"/>
    </a:lt2>
    <a:accent1>
      <a:srgbClr val="1F4E79"/>
    </a:accent1>
    <a:accent2>
      <a:srgbClr val="F7A000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1F4E79"/>
    </a:hlink>
    <a:folHlink>
      <a:srgbClr val="96607D"/>
    </a:folHlink>
  </a:clrScheme>
  <a:fontScheme name="MPSV1">
    <a:majorFont>
      <a:latin typeface="Arial Black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Zodpov_x00ed_d_x00e1_ xmlns="10188f33-29c6-449c-8167-3cfe9f2189f7">
      <UserInfo>
        <DisplayName>Váňová Kamila Mgr. (VZP ČR Ústředí)</DisplayName>
        <AccountId>5565</AccountId>
        <AccountType/>
      </UserInfo>
    </Zodpov_x00ed_d_x00e1_>
    <VZP_Counter xmlns="132fe20e-6c8e-4b23-ada2-ee3ef4468e07">4</VZP_Counter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BFF8318B19AC64A834F4A747FDFC862" ma:contentTypeVersion="10" ma:contentTypeDescription="Vytvořit nový dokument" ma:contentTypeScope="" ma:versionID="20ee47ec60a391f885bad6c7eb37b388">
  <xsd:schema xmlns:xsd="http://www.w3.org/2001/XMLSchema" xmlns:xs="http://www.w3.org/2001/XMLSchema" xmlns:p="http://schemas.microsoft.com/office/2006/metadata/properties" xmlns:ns2="10188f33-29c6-449c-8167-3cfe9f2189f7" xmlns:ns3="132fe20e-6c8e-4b23-ada2-ee3ef4468e07" xmlns:ns4="189c7478-f36e-4d06-b026-5479ab3e2b44" targetNamespace="http://schemas.microsoft.com/office/2006/metadata/properties" ma:root="true" ma:fieldsID="e443967a96b474f86e67f4c760eb1cce" ns2:_="" ns3:_="" ns4:_="">
    <xsd:import namespace="10188f33-29c6-449c-8167-3cfe9f2189f7"/>
    <xsd:import namespace="132fe20e-6c8e-4b23-ada2-ee3ef4468e07"/>
    <xsd:import namespace="189c7478-f36e-4d06-b026-5479ab3e2b44"/>
    <xsd:element name="properties">
      <xsd:complexType>
        <xsd:sequence>
          <xsd:element name="documentManagement">
            <xsd:complexType>
              <xsd:all>
                <xsd:element ref="ns2:Zodpov_x00ed_d_x00e1_" minOccurs="0"/>
                <xsd:element ref="ns3:VZP_Counter" minOccurs="0"/>
                <xsd:element ref="ns4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188f33-29c6-449c-8167-3cfe9f2189f7" elementFormDefault="qualified">
    <xsd:import namespace="http://schemas.microsoft.com/office/2006/documentManagement/types"/>
    <xsd:import namespace="http://schemas.microsoft.com/office/infopath/2007/PartnerControls"/>
    <xsd:element name="Zodpov_x00ed_d_x00e1_" ma:index="8" nillable="true" ma:displayName="Zodpovídá" ma:list="UserInfo" ma:SharePointGroup="0" ma:internalName="Zodpov_x00ed_d_x00e1_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2fe20e-6c8e-4b23-ada2-ee3ef4468e07" elementFormDefault="qualified">
    <xsd:import namespace="http://schemas.microsoft.com/office/2006/documentManagement/types"/>
    <xsd:import namespace="http://schemas.microsoft.com/office/infopath/2007/PartnerControls"/>
    <xsd:element name="VZP_Counter" ma:index="9" nillable="true" ma:displayName="Počítadlo přístupů" ma:default="0" ma:internalName="VZP_Counter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9c7478-f36e-4d06-b026-5479ab3e2b4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dílí se s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zev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D6A59FE-1D07-465C-AAA4-AE41B74E077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C76C71D-8A81-484A-BDD9-DAD864473C8C}">
  <ds:schemaRefs>
    <ds:schemaRef ds:uri="http://purl.org/dc/elements/1.1/"/>
    <ds:schemaRef ds:uri="http://schemas.microsoft.com/office/2006/metadata/properties"/>
    <ds:schemaRef ds:uri="10188f33-29c6-449c-8167-3cfe9f2189f7"/>
    <ds:schemaRef ds:uri="http://schemas.openxmlformats.org/package/2006/metadata/core-properties"/>
    <ds:schemaRef ds:uri="http://schemas.microsoft.com/office/2006/documentManagement/types"/>
    <ds:schemaRef ds:uri="132fe20e-6c8e-4b23-ada2-ee3ef4468e07"/>
    <ds:schemaRef ds:uri="http://purl.org/dc/dcmitype/"/>
    <ds:schemaRef ds:uri="http://schemas.microsoft.com/office/infopath/2007/PartnerControls"/>
    <ds:schemaRef ds:uri="189c7478-f36e-4d06-b026-5479ab3e2b44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931E4914-FF8A-4CB0-A04B-E541DF5D900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0188f33-29c6-449c-8167-3cfe9f2189f7"/>
    <ds:schemaRef ds:uri="132fe20e-6c8e-4b23-ada2-ee3ef4468e07"/>
    <ds:schemaRef ds:uri="189c7478-f36e-4d06-b026-5479ab3e2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97</TotalTime>
  <Words>1010</Words>
  <Application>Microsoft Office PowerPoint</Application>
  <PresentationFormat>Vlastní</PresentationFormat>
  <Paragraphs>331</Paragraphs>
  <Slides>47</Slides>
  <Notes>3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47</vt:i4>
      </vt:variant>
    </vt:vector>
  </HeadingPairs>
  <TitlesOfParts>
    <vt:vector size="55" baseType="lpstr">
      <vt:lpstr>Aptos</vt:lpstr>
      <vt:lpstr>Arial</vt:lpstr>
      <vt:lpstr>Arial Black</vt:lpstr>
      <vt:lpstr>Calibri</vt:lpstr>
      <vt:lpstr>Euphemia</vt:lpstr>
      <vt:lpstr>Tahoma</vt:lpstr>
      <vt:lpstr>Wingdings</vt:lpstr>
      <vt:lpstr>Motiv systému Office</vt:lpstr>
      <vt:lpstr>JEDNÁNÍ ANALYTICKÉ KOMISE DOHODOVACÍHO ŘÍZENÍ</vt:lpstr>
      <vt:lpstr>Prezentace aplikace PowerPoint</vt:lpstr>
      <vt:lpstr>Členové AK DŘ – zdravotní pojišťovny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Vývoj populace mužů a žen je významně odlišný </vt:lpstr>
      <vt:lpstr>Demografické a kapacitní predikce: potřebné navýšení počtu lůžek dlouhodobé ošetřovatelské péče pro období 2035 - 2040</vt:lpstr>
      <vt:lpstr>Plně funkční systém CZ-DRG a data referenčních nemocnic umožňují modelaci reálných nákladů v akutní péči dle různých typů PZS. Oceňování reálných nákladů vychází z oficiální meziresortně schválené metodiky  a zahrnuje všechny typy relevantních nákladů, přímých i nepřímých.   Prediktivní modelace jsou následně ověřitelné sběrem reálných dat.   </vt:lpstr>
      <vt:lpstr>Prezentace aplikace PowerPoint</vt:lpstr>
      <vt:lpstr>Náklady na zdravotní péči čerpané z oddílu A  základního fondu zdravotního pojištění</vt:lpstr>
      <vt:lpstr>Celkové náklady na ambulantní péči</vt:lpstr>
      <vt:lpstr>náklady na stomatologickou péči</vt:lpstr>
      <vt:lpstr>náklady na péči praktických lékařů  (odbornosti 001, 002)</vt:lpstr>
      <vt:lpstr>náklady na péči praktických lékařů (odbornosti 001, 002, bez nákladů za Očkovací látky u nepovinného očkování)</vt:lpstr>
      <vt:lpstr>náklady na gynekologickou péči</vt:lpstr>
      <vt:lpstr>náklady na rehabilitační péči</vt:lpstr>
      <vt:lpstr>náklady na Diagnostickou péči</vt:lpstr>
      <vt:lpstr>Náklady na laboratoře</vt:lpstr>
      <vt:lpstr>Náklady na radiologii a zobrazovací metody</vt:lpstr>
      <vt:lpstr>Náklady na domácí zdravotní péči (odbornosti 911, 914, 916, 921 a 925-926)</vt:lpstr>
      <vt:lpstr>Náklady na specializovanou ambulantní péči</vt:lpstr>
      <vt:lpstr>Náklady na specializovanou ambulantní péči (bez cl a odb. 901, 903, 403)</vt:lpstr>
      <vt:lpstr>Náklady na ambulantní hemodialyzační péči</vt:lpstr>
      <vt:lpstr>Náklady na ústavní péči celkem</vt:lpstr>
      <vt:lpstr>Náklady v nemocnicích</vt:lpstr>
      <vt:lpstr>Náklady na centrová léčiva v nemocnicích</vt:lpstr>
      <vt:lpstr>Náklady v nemocnicích (bez centrových léčiv)</vt:lpstr>
      <vt:lpstr>Náklady v následné a dlouhodobé péči</vt:lpstr>
      <vt:lpstr>Náklady v OLÚ</vt:lpstr>
      <vt:lpstr>Náklady v LDN, OL, NIP</vt:lpstr>
      <vt:lpstr>Náklady na lázeňskou péči</vt:lpstr>
      <vt:lpstr>Náklady na dopravu</vt:lpstr>
      <vt:lpstr>Náklady na zdravotnickou záchrannou službu</vt:lpstr>
      <vt:lpstr>Náklady na léky vydané na recepty</vt:lpstr>
      <vt:lpstr>Náklady na zdravotnické prostředky vydané na poukazy</vt:lpstr>
      <vt:lpstr>KUMULOVANÉ NÁRŮSTY PŘÍJMŮ A NÁKLADŮ V JEDNOTLIVÝCH SEGMENTECH MEZI ROKY 2020 A 2025</vt:lpstr>
      <vt:lpstr>ROZLOŽENÍ NÁKLADŮ NA ZDRAVOTNÍ PÉČI DLE JEDNOTLIVÝCH SEGMENTŮ V % V ROCE 2025</vt:lpstr>
      <vt:lpstr>Prezentace aplikace PowerPoint</vt:lpstr>
      <vt:lpstr>Vývoj příjmů systému v.z.p. v ČR</vt:lpstr>
      <vt:lpstr>Vývoj příjmů systému v.z.p. v ČR a odhad na roky 2026 až 2028</vt:lpstr>
      <vt:lpstr>Odhad příjmů systému v.z.p. na roky 2026 až 2028</vt:lpstr>
      <vt:lpstr>Kumulovaný nárůst příjmů a nákladů na zdravotní služby vzhledem k roku 2000</vt:lpstr>
      <vt:lpstr>Prezentace aplikace PowerPoint</vt:lpstr>
      <vt:lpstr>Děkuji za pozorno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_vzor_GM (2018)</dc:title>
  <dc:creator>Benjamin Hasić</dc:creator>
  <cp:lastModifiedBy>Horňák Pavel Mgr. (VZP ČR Ústředí)</cp:lastModifiedBy>
  <cp:revision>176</cp:revision>
  <dcterms:created xsi:type="dcterms:W3CDTF">2018-02-19T14:51:17Z</dcterms:created>
  <dcterms:modified xsi:type="dcterms:W3CDTF">2026-03-25T13:1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BFF8318B19AC64A834F4A747FDFC862</vt:lpwstr>
  </property>
</Properties>
</file>